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65" r:id="rId3"/>
    <p:sldId id="259" r:id="rId4"/>
    <p:sldId id="257" r:id="rId5"/>
    <p:sldId id="258" r:id="rId6"/>
    <p:sldId id="261" r:id="rId7"/>
    <p:sldId id="260" r:id="rId8"/>
  </p:sldIdLst>
  <p:sldSz cx="12192000" cy="6858000"/>
  <p:notesSz cx="6858000" cy="9144000"/>
  <p:custDataLst>
    <p:tags r:id="rId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B86493C1-1FE9-45F6-A52C-CDE685C14FB1}">
          <p14:sldIdLst>
            <p14:sldId id="265"/>
            <p14:sldId id="259"/>
            <p14:sldId id="257"/>
            <p14:sldId id="258"/>
            <p14:sldId id="261"/>
            <p14:sldId id="260"/>
          </p14:sldIdLst>
        </p14:section>
        <p14:section name="Пустышки" id="{3ED5FF48-88D8-4976-9243-159E047A0F80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C0079"/>
    <a:srgbClr val="B73C68"/>
    <a:srgbClr val="BE5108"/>
    <a:srgbClr val="2E6C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69" d="100"/>
          <a:sy n="69" d="100"/>
        </p:scale>
        <p:origin x="488" y="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193A-4486-8BA9-3ABBB5A850C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193A-4486-8BA9-3ABBB5A850C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193A-4486-8BA9-3ABBB5A850C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193A-4486-8BA9-3ABBB5A850C0}"/>
              </c:ext>
            </c:extLst>
          </c:dPt>
          <c:dLbls>
            <c:dLbl>
              <c:idx val="0"/>
              <c:layout>
                <c:manualLayout>
                  <c:x val="-0.26648258420343851"/>
                  <c:y val="-0.14103062163386265"/>
                </c:manualLayout>
              </c:layout>
              <c:tx>
                <c:rich>
                  <a:bodyPr/>
                  <a:lstStyle/>
                  <a:p>
                    <a:r>
                      <a:rPr lang="en-US" sz="3800" b="1" dirty="0" smtClean="0">
                        <a:latin typeface="Arial Black" panose="020B0A04020102020204" pitchFamily="34" charset="0"/>
                      </a:rPr>
                      <a:t>20</a:t>
                    </a:r>
                    <a:endParaRPr lang="en-US" sz="3800" b="1" dirty="0">
                      <a:latin typeface="Arial Black" panose="020B0A04020102020204" pitchFamily="34" charset="0"/>
                    </a:endParaRPr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833686376349812"/>
                      <c:h val="0.2422796395827812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193A-4486-8BA9-3ABBB5A850C0}"/>
                </c:ext>
              </c:extLst>
            </c:dLbl>
            <c:dLbl>
              <c:idx val="1"/>
              <c:layout>
                <c:manualLayout>
                  <c:x val="0.21922006665547408"/>
                  <c:y val="7.7983458179358617E-2"/>
                </c:manualLayout>
              </c:layout>
              <c:tx>
                <c:rich>
                  <a:bodyPr/>
                  <a:lstStyle/>
                  <a:p>
                    <a:r>
                      <a:rPr lang="en-US" sz="3800" dirty="0" smtClean="0">
                        <a:latin typeface="Arial Black" panose="020B0A04020102020204" pitchFamily="34" charset="0"/>
                      </a:rPr>
                      <a:t>18</a:t>
                    </a:r>
                    <a:endParaRPr lang="en-US" sz="3800" dirty="0">
                      <a:latin typeface="Arial Black" panose="020B0A04020102020204" pitchFamily="34" charset="0"/>
                    </a:endParaRPr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193A-4486-8BA9-3ABBB5A850C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2"/>
                <c:pt idx="0">
                  <c:v>М</c:v>
                </c:pt>
                <c:pt idx="1">
                  <c:v>Ж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0</c:v>
                </c:pt>
                <c:pt idx="1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93A-4486-8BA9-3ABBB5A850C0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 Black" panose="020B0A040201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7222991161559515"/>
          <c:y val="0.16668513064758797"/>
          <c:w val="0.25269123783031988"/>
          <c:h val="0.68379274247177968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49C-4CAB-9665-4DA68B467F5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49C-4CAB-9665-4DA68B467F5B}"/>
              </c:ext>
            </c:extLst>
          </c:dPt>
          <c:dLbls>
            <c:dLbl>
              <c:idx val="0"/>
              <c:layout>
                <c:manualLayout>
                  <c:x val="1.5372829646911033E-2"/>
                  <c:y val="1.6382356770853094E-2"/>
                </c:manualLayout>
              </c:layout>
              <c:tx>
                <c:rich>
                  <a:bodyPr/>
                  <a:lstStyle/>
                  <a:p>
                    <a:fld id="{F2C7A8BA-9687-4A97-90D9-ED09F5808D83}" type="VALUE">
                      <a:rPr lang="en-US" sz="3000">
                        <a:solidFill>
                          <a:schemeClr val="accent1">
                            <a:lumMod val="75000"/>
                          </a:schemeClr>
                        </a:solidFill>
                        <a:latin typeface="Arial Black" panose="020B0A04020102020204" pitchFamily="34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49C-4CAB-9665-4DA68B467F5B}"/>
                </c:ext>
              </c:extLst>
            </c:dLbl>
            <c:dLbl>
              <c:idx val="1"/>
              <c:layout>
                <c:manualLayout>
                  <c:x val="-7.5624747633361751E-3"/>
                  <c:y val="-0.30107539283510532"/>
                </c:manualLayout>
              </c:layout>
              <c:tx>
                <c:rich>
                  <a:bodyPr/>
                  <a:lstStyle/>
                  <a:p>
                    <a:fld id="{7D723D4E-8673-442F-A27C-5DF514312F20}" type="VALUE">
                      <a:rPr lang="en-US" sz="3000">
                        <a:solidFill>
                          <a:schemeClr val="bg1"/>
                        </a:solidFill>
                        <a:latin typeface="Arial Black" panose="020B0A04020102020204" pitchFamily="34" charset="0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49C-4CAB-9665-4DA68B467F5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2"/>
                <c:pt idx="0">
                  <c:v>Общежитие</c:v>
                </c:pt>
                <c:pt idx="1">
                  <c:v>Дом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2"/>
                <c:pt idx="0">
                  <c:v>15</c:v>
                </c:pt>
                <c:pt idx="1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49C-4CAB-9665-4DA68B467F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.63541511507918702"/>
          <c:y val="0.11131504114331398"/>
          <c:w val="0.27591850240028715"/>
          <c:h val="9.84771616743603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/>
              <a:t>22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6176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/>
              <a:t>22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11830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/>
              <a:t>22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08573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7891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37656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06435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15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9600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9935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1851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90279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/>
              <a:t>22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41115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0057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8514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6036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/>
              <a:t>22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65753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/>
              <a:t>22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15457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/>
              <a:t>22.09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45584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/>
              <a:t>22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3326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/>
              <a:t>22.09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45376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/>
              <a:t>22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66261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D36D2-E8B7-4397-9E8D-F629DC9D557D}" type="datetimeFigureOut">
              <a:rPr lang="ru-RU" smtClean="0"/>
              <a:t>22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71488E-22BF-4BFC-A6D6-6DD045F987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58415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852938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" name="think-cell Slide" r:id="rId15" imgW="408" imgH="408" progId="TCLayout.ActiveDocument.1">
                  <p:embed/>
                </p:oleObj>
              </mc:Choice>
              <mc:Fallback>
                <p:oleObj name="think-cell Slide" r:id="rId15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DD36D2-E8B7-4397-9E8D-F629DC9D557D}" type="datetimeFigureOut">
              <a:rPr lang="ru-RU" smtClean="0"/>
              <a:t>22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71488E-22BF-4BFC-A6D6-6DD045F987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1543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4" name="think-cell Slide" r:id="rId15" imgW="408" imgH="408" progId="TCLayout.ActiveDocument.1">
                  <p:embed/>
                </p:oleObj>
              </mc:Choice>
              <mc:Fallback>
                <p:oleObj name="think-cell Slide" r:id="rId15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DD36D2-E8B7-4397-9E8D-F629DC9D557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71488E-22BF-4BFC-A6D6-6DD045F9875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660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chart" Target="../charts/chart1.xml"/><Relationship Id="rId5" Type="http://schemas.openxmlformats.org/officeDocument/2006/relationships/oleObject" Target="../embeddings/oleObject3.bin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18" Type="http://schemas.openxmlformats.org/officeDocument/2006/relationships/image" Target="../media/image16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12" Type="http://schemas.openxmlformats.org/officeDocument/2006/relationships/image" Target="../media/image10.png"/><Relationship Id="rId17" Type="http://schemas.openxmlformats.org/officeDocument/2006/relationships/image" Target="../media/image15.png"/><Relationship Id="rId2" Type="http://schemas.openxmlformats.org/officeDocument/2006/relationships/tags" Target="../tags/tag6.xml"/><Relationship Id="rId16" Type="http://schemas.openxmlformats.org/officeDocument/2006/relationships/image" Target="../media/image14.png"/><Relationship Id="rId20" Type="http://schemas.openxmlformats.org/officeDocument/2006/relationships/image" Target="../media/image18.png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9.png"/><Relationship Id="rId5" Type="http://schemas.openxmlformats.org/officeDocument/2006/relationships/chart" Target="../charts/chart2.xml"/><Relationship Id="rId15" Type="http://schemas.openxmlformats.org/officeDocument/2006/relationships/image" Target="../media/image13.png"/><Relationship Id="rId10" Type="http://schemas.openxmlformats.org/officeDocument/2006/relationships/image" Target="../media/image8.png"/><Relationship Id="rId19" Type="http://schemas.openxmlformats.org/officeDocument/2006/relationships/image" Target="../media/image17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9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3.xml"/><Relationship Id="rId7" Type="http://schemas.openxmlformats.org/officeDocument/2006/relationships/image" Target="../media/image2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831850" y="1753282"/>
            <a:ext cx="10515600" cy="1936975"/>
          </a:xfrm>
        </p:spPr>
        <p:txBody>
          <a:bodyPr>
            <a:normAutofit/>
          </a:bodyPr>
          <a:lstStyle/>
          <a:p>
            <a:r>
              <a:rPr lang="ru-RU" sz="4800" b="1" dirty="0" smtClean="0">
                <a:solidFill>
                  <a:srgbClr val="4C0079"/>
                </a:solidFill>
                <a:latin typeface="Arial Black" panose="020B0A04020102020204" pitchFamily="34" charset="0"/>
              </a:rPr>
              <a:t>ИННОВАЦИОННЫЙ МЕНЕДЖМЕНТ</a:t>
            </a:r>
            <a:endParaRPr lang="ru-RU" sz="4800" b="1" dirty="0">
              <a:solidFill>
                <a:srgbClr val="4C0079"/>
              </a:solidFill>
              <a:latin typeface="Arial Black" panose="020B0A04020102020204" pitchFamily="34" charset="0"/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2">
                    <a:lumMod val="50000"/>
                  </a:schemeClr>
                </a:solidFill>
              </a:rPr>
              <a:t>СТАТИСТИКА ПОСТУПЛЕНИЙ, 2019 ГОД</a:t>
            </a:r>
            <a:endParaRPr lang="ru-RU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925286" y="3918857"/>
            <a:ext cx="10422164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0654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094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4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374950" y="2809547"/>
            <a:ext cx="4058918" cy="1557132"/>
            <a:chOff x="6473496" y="3478060"/>
            <a:chExt cx="4771814" cy="1830622"/>
          </a:xfrm>
        </p:grpSpPr>
        <p:pic>
          <p:nvPicPr>
            <p:cNvPr id="33" name="Рисунок 32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6473496" y="3478060"/>
              <a:ext cx="873444" cy="1830622"/>
            </a:xfrm>
            <a:prstGeom prst="rect">
              <a:avLst/>
            </a:prstGeom>
          </p:spPr>
        </p:pic>
        <p:pic>
          <p:nvPicPr>
            <p:cNvPr id="58" name="Рисунок 57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7253170" y="3478060"/>
              <a:ext cx="873444" cy="1830622"/>
            </a:xfrm>
            <a:prstGeom prst="rect">
              <a:avLst/>
            </a:prstGeom>
          </p:spPr>
        </p:pic>
        <p:pic>
          <p:nvPicPr>
            <p:cNvPr id="60" name="Рисунок 59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8032844" y="3478060"/>
              <a:ext cx="873444" cy="1830622"/>
            </a:xfrm>
            <a:prstGeom prst="rect">
              <a:avLst/>
            </a:prstGeom>
          </p:spPr>
        </p:pic>
        <p:pic>
          <p:nvPicPr>
            <p:cNvPr id="62" name="Рисунок 61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8812518" y="3478060"/>
              <a:ext cx="873444" cy="1830622"/>
            </a:xfrm>
            <a:prstGeom prst="rect">
              <a:avLst/>
            </a:prstGeom>
          </p:spPr>
        </p:pic>
        <p:pic>
          <p:nvPicPr>
            <p:cNvPr id="64" name="Рисунок 63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9592192" y="3478060"/>
              <a:ext cx="873444" cy="1830622"/>
            </a:xfrm>
            <a:prstGeom prst="rect">
              <a:avLst/>
            </a:prstGeom>
          </p:spPr>
        </p:pic>
        <p:pic>
          <p:nvPicPr>
            <p:cNvPr id="66" name="Рисунок 65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10371866" y="3478060"/>
              <a:ext cx="873444" cy="1830622"/>
            </a:xfrm>
            <a:prstGeom prst="rect">
              <a:avLst/>
            </a:prstGeom>
          </p:spPr>
        </p:pic>
      </p:grp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2558726" y="1044389"/>
            <a:ext cx="839844" cy="1602064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3349571" y="1038044"/>
            <a:ext cx="839844" cy="1602064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4156385" y="1038044"/>
            <a:ext cx="839844" cy="1602064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3518387" y="2866549"/>
            <a:ext cx="839844" cy="1602064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3220434" y="4873846"/>
            <a:ext cx="764415" cy="1458178"/>
          </a:xfrm>
          <a:prstGeom prst="rect">
            <a:avLst/>
          </a:prstGeom>
        </p:spPr>
      </p:pic>
      <p:pic>
        <p:nvPicPr>
          <p:cNvPr id="56" name="Рисунок 55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4044550" y="4873846"/>
            <a:ext cx="764415" cy="1458178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106929" y="1038044"/>
            <a:ext cx="839844" cy="1602064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913743" y="1038044"/>
            <a:ext cx="839844" cy="1602064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 rotWithShape="1"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1720557" y="1038044"/>
            <a:ext cx="839844" cy="1602064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1889373" y="2866549"/>
            <a:ext cx="839844" cy="1602064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2696187" y="2866549"/>
            <a:ext cx="839844" cy="1602064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258097" y="2863687"/>
            <a:ext cx="839844" cy="1602064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1068136" y="2863688"/>
            <a:ext cx="839844" cy="1602064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 rotWithShape="1"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1669527" y="4873845"/>
            <a:ext cx="759589" cy="1448972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 rotWithShape="1"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2442994" y="4873845"/>
            <a:ext cx="759589" cy="1448971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898505" y="4873845"/>
            <a:ext cx="759589" cy="1448972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6679002" y="1036859"/>
            <a:ext cx="742954" cy="1557132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7458676" y="1036859"/>
            <a:ext cx="742954" cy="1557132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8238350" y="1036859"/>
            <a:ext cx="742954" cy="1557132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8943008" y="1036859"/>
            <a:ext cx="742954" cy="1557132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9722682" y="1036859"/>
            <a:ext cx="742954" cy="1557132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10502356" y="1036859"/>
            <a:ext cx="742954" cy="1557132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11282031" y="1036859"/>
            <a:ext cx="742954" cy="1557132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37183" y="118709"/>
            <a:ext cx="117878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Студенты программы - гендерная структура</a:t>
            </a:r>
            <a:endParaRPr kumimoji="0" lang="ru-RU" sz="3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181210" y="892629"/>
            <a:ext cx="10911333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</p:cxnSp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7087199" y="4694309"/>
            <a:ext cx="742954" cy="1557132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7866873" y="4694309"/>
            <a:ext cx="742954" cy="1557132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8571531" y="4694309"/>
            <a:ext cx="742954" cy="1557132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9351205" y="4694309"/>
            <a:ext cx="742954" cy="1557132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10130879" y="4694309"/>
            <a:ext cx="742954" cy="1557132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10910554" y="4694309"/>
            <a:ext cx="742954" cy="1557132"/>
          </a:xfrm>
          <a:prstGeom prst="rect">
            <a:avLst/>
          </a:prstGeom>
        </p:spPr>
      </p:pic>
      <p:graphicFrame>
        <p:nvGraphicFramePr>
          <p:cNvPr id="16" name="Диаграмма 15"/>
          <p:cNvGraphicFramePr/>
          <p:nvPr>
            <p:extLst>
              <p:ext uri="{D42A27DB-BD31-4B8C-83A1-F6EECF244321}">
                <p14:modId xmlns:p14="http://schemas.microsoft.com/office/powerpoint/2010/main" val="2912814850"/>
              </p:ext>
            </p:extLst>
          </p:nvPr>
        </p:nvGraphicFramePr>
        <p:xfrm>
          <a:off x="3587694" y="1857963"/>
          <a:ext cx="4479152" cy="31506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134266" y="4873845"/>
            <a:ext cx="759589" cy="1448972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4808741" y="4873846"/>
            <a:ext cx="764415" cy="1458178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6372948" y="4694309"/>
            <a:ext cx="742954" cy="1557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693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Диаграмма 42"/>
          <p:cNvGraphicFramePr/>
          <p:nvPr>
            <p:extLst>
              <p:ext uri="{D42A27DB-BD31-4B8C-83A1-F6EECF244321}">
                <p14:modId xmlns:p14="http://schemas.microsoft.com/office/powerpoint/2010/main" val="3822275557"/>
              </p:ext>
            </p:extLst>
          </p:nvPr>
        </p:nvGraphicFramePr>
        <p:xfrm>
          <a:off x="1398170" y="1034210"/>
          <a:ext cx="9500699" cy="32947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0120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0" name="think-cell Slide" r:id="rId6" imgW="408" imgH="408" progId="TCLayout.ActiveDocument.1">
                  <p:embed/>
                </p:oleObj>
              </mc:Choice>
              <mc:Fallback>
                <p:oleObj name="think-cell Slide" r:id="rId6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8447314" y="6084669"/>
            <a:ext cx="3323772" cy="612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800" dirty="0">
                <a:latin typeface="Arial Black" panose="020B0A04020102020204" pitchFamily="34" charset="0"/>
              </a:rPr>
              <a:t>общежитие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282749" y="6084669"/>
            <a:ext cx="5595537" cy="612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000" dirty="0" smtClean="0">
                <a:latin typeface="Arial Black" panose="020B0A04020102020204" pitchFamily="34" charset="0"/>
              </a:rPr>
              <a:t>дом</a:t>
            </a:r>
            <a:endParaRPr lang="ru-RU" sz="4000" dirty="0">
              <a:latin typeface="Arial Black" panose="020B0A04020102020204" pitchFamily="34" charset="0"/>
            </a:endParaRPr>
          </a:p>
        </p:txBody>
      </p:sp>
      <p:pic>
        <p:nvPicPr>
          <p:cNvPr id="78" name="Рисунок 7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3200" y="2180634"/>
            <a:ext cx="4528457" cy="3887134"/>
          </a:xfrm>
          <a:prstGeom prst="rect">
            <a:avLst/>
          </a:prstGeom>
        </p:spPr>
      </p:pic>
      <p:pic>
        <p:nvPicPr>
          <p:cNvPr id="72" name="Рисунок 7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28" y="3289606"/>
            <a:ext cx="853559" cy="875063"/>
          </a:xfrm>
          <a:prstGeom prst="rect">
            <a:avLst/>
          </a:prstGeom>
        </p:spPr>
      </p:pic>
      <p:grpSp>
        <p:nvGrpSpPr>
          <p:cNvPr id="22" name="Группа 21"/>
          <p:cNvGrpSpPr/>
          <p:nvPr/>
        </p:nvGrpSpPr>
        <p:grpSpPr>
          <a:xfrm>
            <a:off x="155967" y="2420951"/>
            <a:ext cx="847473" cy="868823"/>
            <a:chOff x="1921297" y="2824331"/>
            <a:chExt cx="1398713" cy="1412821"/>
          </a:xfrm>
        </p:grpSpPr>
        <p:pic>
          <p:nvPicPr>
            <p:cNvPr id="73" name="Рисунок 72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21297" y="2824331"/>
              <a:ext cx="1398713" cy="1412821"/>
            </a:xfrm>
            <a:prstGeom prst="rect">
              <a:avLst/>
            </a:prstGeom>
          </p:spPr>
        </p:pic>
        <p:pic>
          <p:nvPicPr>
            <p:cNvPr id="89" name="Рисунок 88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053"/>
            <a:stretch/>
          </p:blipFill>
          <p:spPr>
            <a:xfrm>
              <a:off x="2416932" y="3313668"/>
              <a:ext cx="401969" cy="774519"/>
            </a:xfrm>
            <a:prstGeom prst="rect">
              <a:avLst/>
            </a:prstGeom>
          </p:spPr>
        </p:pic>
      </p:grpSp>
      <p:grpSp>
        <p:nvGrpSpPr>
          <p:cNvPr id="3" name="Группа 2"/>
          <p:cNvGrpSpPr/>
          <p:nvPr/>
        </p:nvGrpSpPr>
        <p:grpSpPr>
          <a:xfrm>
            <a:off x="994183" y="2421185"/>
            <a:ext cx="849907" cy="1736716"/>
            <a:chOff x="152208" y="1736901"/>
            <a:chExt cx="1552866" cy="3095177"/>
          </a:xfrm>
        </p:grpSpPr>
        <p:grpSp>
          <p:nvGrpSpPr>
            <p:cNvPr id="36" name="Группа 35"/>
            <p:cNvGrpSpPr/>
            <p:nvPr/>
          </p:nvGrpSpPr>
          <p:grpSpPr>
            <a:xfrm>
              <a:off x="152208" y="1736901"/>
              <a:ext cx="1548000" cy="1548000"/>
              <a:chOff x="1893709" y="2986668"/>
              <a:chExt cx="1398713" cy="1412821"/>
            </a:xfrm>
          </p:grpSpPr>
          <p:pic>
            <p:nvPicPr>
              <p:cNvPr id="37" name="Рисунок 36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93709" y="2986668"/>
                <a:ext cx="1398713" cy="1412821"/>
              </a:xfrm>
              <a:prstGeom prst="rect">
                <a:avLst/>
              </a:prstGeom>
            </p:spPr>
          </p:pic>
          <p:pic>
            <p:nvPicPr>
              <p:cNvPr id="38" name="Рисунок 37"/>
              <p:cNvPicPr>
                <a:picLocks noChangeAspect="1"/>
              </p:cNvPicPr>
              <p:nvPr/>
            </p:nvPicPr>
            <p:blipFill rotWithShape="1">
              <a:blip r:embed="rId11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7053"/>
              <a:stretch/>
            </p:blipFill>
            <p:spPr>
              <a:xfrm>
                <a:off x="2392004" y="3440452"/>
                <a:ext cx="401969" cy="774519"/>
              </a:xfrm>
              <a:prstGeom prst="rect">
                <a:avLst/>
              </a:prstGeom>
            </p:spPr>
          </p:pic>
        </p:grpSp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7074" y="3284079"/>
              <a:ext cx="1548000" cy="1547999"/>
            </a:xfrm>
            <a:prstGeom prst="rect">
              <a:avLst/>
            </a:prstGeom>
          </p:spPr>
        </p:pic>
      </p:grpSp>
      <p:grpSp>
        <p:nvGrpSpPr>
          <p:cNvPr id="100" name="Группа 99"/>
          <p:cNvGrpSpPr/>
          <p:nvPr/>
        </p:nvGrpSpPr>
        <p:grpSpPr>
          <a:xfrm>
            <a:off x="1829235" y="2423311"/>
            <a:ext cx="843239" cy="864483"/>
            <a:chOff x="1921297" y="2824331"/>
            <a:chExt cx="1398713" cy="1412821"/>
          </a:xfrm>
        </p:grpSpPr>
        <p:pic>
          <p:nvPicPr>
            <p:cNvPr id="110" name="Рисунок 109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21297" y="2824331"/>
              <a:ext cx="1398713" cy="1412821"/>
            </a:xfrm>
            <a:prstGeom prst="rect">
              <a:avLst/>
            </a:prstGeom>
          </p:spPr>
        </p:pic>
        <p:pic>
          <p:nvPicPr>
            <p:cNvPr id="111" name="Рисунок 110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053"/>
            <a:stretch/>
          </p:blipFill>
          <p:spPr>
            <a:xfrm>
              <a:off x="2416932" y="3313668"/>
              <a:ext cx="401969" cy="774519"/>
            </a:xfrm>
            <a:prstGeom prst="rect">
              <a:avLst/>
            </a:prstGeom>
          </p:spPr>
        </p:pic>
      </p:grpSp>
      <p:grpSp>
        <p:nvGrpSpPr>
          <p:cNvPr id="113" name="Группа 112"/>
          <p:cNvGrpSpPr/>
          <p:nvPr/>
        </p:nvGrpSpPr>
        <p:grpSpPr>
          <a:xfrm>
            <a:off x="2638346" y="2398910"/>
            <a:ext cx="858980" cy="880620"/>
            <a:chOff x="1921297" y="2824331"/>
            <a:chExt cx="1398713" cy="1412821"/>
          </a:xfrm>
        </p:grpSpPr>
        <p:pic>
          <p:nvPicPr>
            <p:cNvPr id="123" name="Рисунок 122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21297" y="2824331"/>
              <a:ext cx="1398713" cy="1412821"/>
            </a:xfrm>
            <a:prstGeom prst="rect">
              <a:avLst/>
            </a:prstGeom>
          </p:spPr>
        </p:pic>
        <p:pic>
          <p:nvPicPr>
            <p:cNvPr id="124" name="Рисунок 123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053"/>
            <a:stretch/>
          </p:blipFill>
          <p:spPr>
            <a:xfrm>
              <a:off x="2416932" y="3313668"/>
              <a:ext cx="401969" cy="774519"/>
            </a:xfrm>
            <a:prstGeom prst="rect">
              <a:avLst/>
            </a:prstGeom>
          </p:spPr>
        </p:pic>
      </p:grpSp>
      <p:grpSp>
        <p:nvGrpSpPr>
          <p:cNvPr id="126" name="Группа 125"/>
          <p:cNvGrpSpPr/>
          <p:nvPr/>
        </p:nvGrpSpPr>
        <p:grpSpPr>
          <a:xfrm>
            <a:off x="3515200" y="2425870"/>
            <a:ext cx="841042" cy="862231"/>
            <a:chOff x="1921297" y="2824331"/>
            <a:chExt cx="1398713" cy="1412821"/>
          </a:xfrm>
        </p:grpSpPr>
        <p:pic>
          <p:nvPicPr>
            <p:cNvPr id="136" name="Рисунок 135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21297" y="2824331"/>
              <a:ext cx="1398713" cy="1412821"/>
            </a:xfrm>
            <a:prstGeom prst="rect">
              <a:avLst/>
            </a:prstGeom>
          </p:spPr>
        </p:pic>
        <p:pic>
          <p:nvPicPr>
            <p:cNvPr id="137" name="Рисунок 136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053"/>
            <a:stretch/>
          </p:blipFill>
          <p:spPr>
            <a:xfrm>
              <a:off x="2416932" y="3313668"/>
              <a:ext cx="401969" cy="774519"/>
            </a:xfrm>
            <a:prstGeom prst="rect">
              <a:avLst/>
            </a:prstGeom>
          </p:spPr>
        </p:pic>
      </p:grpSp>
      <p:pic>
        <p:nvPicPr>
          <p:cNvPr id="151" name="Рисунок 150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453569" y="3624530"/>
            <a:ext cx="244216" cy="477596"/>
          </a:xfrm>
          <a:prstGeom prst="rect">
            <a:avLst/>
          </a:prstGeom>
        </p:spPr>
      </p:pic>
      <p:pic>
        <p:nvPicPr>
          <p:cNvPr id="152" name="Рисунок 151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1350324" y="3609046"/>
            <a:ext cx="238706" cy="466820"/>
          </a:xfrm>
          <a:prstGeom prst="rect">
            <a:avLst/>
          </a:prstGeom>
        </p:spPr>
      </p:pic>
      <p:grpSp>
        <p:nvGrpSpPr>
          <p:cNvPr id="9" name="Группа 8"/>
          <p:cNvGrpSpPr/>
          <p:nvPr/>
        </p:nvGrpSpPr>
        <p:grpSpPr>
          <a:xfrm>
            <a:off x="1827118" y="3287062"/>
            <a:ext cx="845533" cy="866834"/>
            <a:chOff x="2286269" y="2801692"/>
            <a:chExt cx="1548000" cy="1548000"/>
          </a:xfrm>
        </p:grpSpPr>
        <p:pic>
          <p:nvPicPr>
            <p:cNvPr id="106" name="Рисунок 105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86269" y="2801692"/>
              <a:ext cx="1548000" cy="1548000"/>
            </a:xfrm>
            <a:prstGeom prst="rect">
              <a:avLst/>
            </a:prstGeom>
          </p:spPr>
        </p:pic>
        <p:pic>
          <p:nvPicPr>
            <p:cNvPr id="153" name="Рисунок 152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053"/>
            <a:stretch/>
          </p:blipFill>
          <p:spPr>
            <a:xfrm>
              <a:off x="2847134" y="3385838"/>
              <a:ext cx="444872" cy="848625"/>
            </a:xfrm>
            <a:prstGeom prst="rect">
              <a:avLst/>
            </a:prstGeom>
          </p:spPr>
        </p:pic>
      </p:grpSp>
      <p:grpSp>
        <p:nvGrpSpPr>
          <p:cNvPr id="10" name="Группа 9"/>
          <p:cNvGrpSpPr/>
          <p:nvPr/>
        </p:nvGrpSpPr>
        <p:grpSpPr>
          <a:xfrm>
            <a:off x="2648166" y="3311479"/>
            <a:ext cx="821878" cy="842584"/>
            <a:chOff x="3396148" y="2796270"/>
            <a:chExt cx="1548000" cy="1548000"/>
          </a:xfrm>
        </p:grpSpPr>
        <p:pic>
          <p:nvPicPr>
            <p:cNvPr id="119" name="Рисунок 118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96148" y="2796270"/>
              <a:ext cx="1548000" cy="1548000"/>
            </a:xfrm>
            <a:prstGeom prst="rect">
              <a:avLst/>
            </a:prstGeom>
          </p:spPr>
        </p:pic>
        <p:pic>
          <p:nvPicPr>
            <p:cNvPr id="154" name="Рисунок 153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053"/>
            <a:stretch/>
          </p:blipFill>
          <p:spPr>
            <a:xfrm>
              <a:off x="3957013" y="3380416"/>
              <a:ext cx="444872" cy="848625"/>
            </a:xfrm>
            <a:prstGeom prst="rect">
              <a:avLst/>
            </a:prstGeom>
          </p:spPr>
        </p:pic>
      </p:grpSp>
      <p:grpSp>
        <p:nvGrpSpPr>
          <p:cNvPr id="11" name="Группа 10"/>
          <p:cNvGrpSpPr/>
          <p:nvPr/>
        </p:nvGrpSpPr>
        <p:grpSpPr>
          <a:xfrm>
            <a:off x="3498489" y="3317813"/>
            <a:ext cx="817665" cy="838264"/>
            <a:chOff x="4456235" y="2796270"/>
            <a:chExt cx="1548000" cy="1548000"/>
          </a:xfrm>
        </p:grpSpPr>
        <p:pic>
          <p:nvPicPr>
            <p:cNvPr id="132" name="Рисунок 131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56235" y="2796270"/>
              <a:ext cx="1548000" cy="1548000"/>
            </a:xfrm>
            <a:prstGeom prst="rect">
              <a:avLst/>
            </a:prstGeom>
          </p:spPr>
        </p:pic>
        <p:pic>
          <p:nvPicPr>
            <p:cNvPr id="155" name="Рисунок 154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053"/>
            <a:stretch/>
          </p:blipFill>
          <p:spPr>
            <a:xfrm>
              <a:off x="5017100" y="3380416"/>
              <a:ext cx="444872" cy="848625"/>
            </a:xfrm>
            <a:prstGeom prst="rect">
              <a:avLst/>
            </a:prstGeom>
          </p:spPr>
        </p:pic>
      </p:grpSp>
      <p:sp>
        <p:nvSpPr>
          <p:cNvPr id="13" name="Прямоугольник 12"/>
          <p:cNvSpPr/>
          <p:nvPr/>
        </p:nvSpPr>
        <p:spPr>
          <a:xfrm>
            <a:off x="155967" y="40117"/>
            <a:ext cx="118560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Доля студентов программы, проживающих в общежитии</a:t>
            </a:r>
            <a:endParaRPr kumimoji="0" lang="ru-RU" sz="3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91" name="Прямая соединительная линия 90"/>
          <p:cNvCxnSpPr/>
          <p:nvPr/>
        </p:nvCxnSpPr>
        <p:spPr>
          <a:xfrm flipV="1">
            <a:off x="277086" y="686448"/>
            <a:ext cx="11734944" cy="24013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</p:cxnSp>
      <p:grpSp>
        <p:nvGrpSpPr>
          <p:cNvPr id="141" name="Группа 140"/>
          <p:cNvGrpSpPr/>
          <p:nvPr/>
        </p:nvGrpSpPr>
        <p:grpSpPr>
          <a:xfrm>
            <a:off x="3485073" y="4323960"/>
            <a:ext cx="837299" cy="858392"/>
            <a:chOff x="2943174" y="1813687"/>
            <a:chExt cx="1398714" cy="1412821"/>
          </a:xfrm>
        </p:grpSpPr>
        <p:pic>
          <p:nvPicPr>
            <p:cNvPr id="145" name="Рисунок 144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43174" y="1813687"/>
              <a:ext cx="1398714" cy="1412821"/>
            </a:xfrm>
            <a:prstGeom prst="rect">
              <a:avLst/>
            </a:prstGeom>
          </p:spPr>
        </p:pic>
        <p:pic>
          <p:nvPicPr>
            <p:cNvPr id="146" name="Рисунок 145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3433162" y="2305537"/>
              <a:ext cx="407987" cy="789516"/>
            </a:xfrm>
            <a:prstGeom prst="rect">
              <a:avLst/>
            </a:prstGeom>
          </p:spPr>
        </p:pic>
      </p:grpSp>
      <p:pic>
        <p:nvPicPr>
          <p:cNvPr id="120" name="Рисунок 119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655" y="4319572"/>
            <a:ext cx="849039" cy="870429"/>
          </a:xfrm>
          <a:prstGeom prst="rect">
            <a:avLst/>
          </a:prstGeom>
        </p:spPr>
      </p:pic>
      <p:pic>
        <p:nvPicPr>
          <p:cNvPr id="133" name="Рисунок 132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9958" y="4314672"/>
            <a:ext cx="848649" cy="870029"/>
          </a:xfrm>
          <a:prstGeom prst="rect">
            <a:avLst/>
          </a:prstGeom>
        </p:spPr>
      </p:pic>
      <p:grpSp>
        <p:nvGrpSpPr>
          <p:cNvPr id="163" name="Группа 162"/>
          <p:cNvGrpSpPr/>
          <p:nvPr/>
        </p:nvGrpSpPr>
        <p:grpSpPr>
          <a:xfrm>
            <a:off x="2673622" y="4324941"/>
            <a:ext cx="855423" cy="876974"/>
            <a:chOff x="4751246" y="1603329"/>
            <a:chExt cx="1770345" cy="1770345"/>
          </a:xfrm>
        </p:grpSpPr>
        <p:pic>
          <p:nvPicPr>
            <p:cNvPr id="164" name="Рисунок 163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51246" y="1603329"/>
              <a:ext cx="1770345" cy="1770345"/>
            </a:xfrm>
            <a:prstGeom prst="rect">
              <a:avLst/>
            </a:prstGeom>
          </p:spPr>
        </p:pic>
        <p:pic>
          <p:nvPicPr>
            <p:cNvPr id="165" name="Рисунок 164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5398612" y="2258858"/>
              <a:ext cx="463062" cy="970516"/>
            </a:xfrm>
            <a:prstGeom prst="rect">
              <a:avLst/>
            </a:prstGeom>
          </p:spPr>
        </p:pic>
      </p:grpSp>
      <p:pic>
        <p:nvPicPr>
          <p:cNvPr id="158" name="Рисунок 157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815" y="4329816"/>
            <a:ext cx="848649" cy="870029"/>
          </a:xfrm>
          <a:prstGeom prst="rect">
            <a:avLst/>
          </a:prstGeom>
        </p:spPr>
      </p:pic>
      <p:grpSp>
        <p:nvGrpSpPr>
          <p:cNvPr id="166" name="Группа 165"/>
          <p:cNvGrpSpPr/>
          <p:nvPr/>
        </p:nvGrpSpPr>
        <p:grpSpPr>
          <a:xfrm>
            <a:off x="1815370" y="4324941"/>
            <a:ext cx="855423" cy="876974"/>
            <a:chOff x="4751246" y="1603329"/>
            <a:chExt cx="1770345" cy="1770345"/>
          </a:xfrm>
        </p:grpSpPr>
        <p:pic>
          <p:nvPicPr>
            <p:cNvPr id="167" name="Рисунок 166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51246" y="1603329"/>
              <a:ext cx="1770345" cy="1770345"/>
            </a:xfrm>
            <a:prstGeom prst="rect">
              <a:avLst/>
            </a:prstGeom>
          </p:spPr>
        </p:pic>
        <p:pic>
          <p:nvPicPr>
            <p:cNvPr id="168" name="Рисунок 167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5398612" y="2258858"/>
              <a:ext cx="463062" cy="970516"/>
            </a:xfrm>
            <a:prstGeom prst="rect">
              <a:avLst/>
            </a:prstGeom>
          </p:spPr>
        </p:pic>
      </p:grpSp>
      <p:grpSp>
        <p:nvGrpSpPr>
          <p:cNvPr id="169" name="Группа 168"/>
          <p:cNvGrpSpPr/>
          <p:nvPr/>
        </p:nvGrpSpPr>
        <p:grpSpPr>
          <a:xfrm>
            <a:off x="3467869" y="5190794"/>
            <a:ext cx="855423" cy="876974"/>
            <a:chOff x="4751246" y="1603329"/>
            <a:chExt cx="1770345" cy="1770345"/>
          </a:xfrm>
        </p:grpSpPr>
        <p:pic>
          <p:nvPicPr>
            <p:cNvPr id="170" name="Рисунок 169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51246" y="1603329"/>
              <a:ext cx="1770345" cy="1770345"/>
            </a:xfrm>
            <a:prstGeom prst="rect">
              <a:avLst/>
            </a:prstGeom>
          </p:spPr>
        </p:pic>
        <p:pic>
          <p:nvPicPr>
            <p:cNvPr id="171" name="Рисунок 170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5398612" y="2258858"/>
              <a:ext cx="463062" cy="970516"/>
            </a:xfrm>
            <a:prstGeom prst="rect">
              <a:avLst/>
            </a:prstGeom>
          </p:spPr>
        </p:pic>
      </p:grpSp>
      <p:grpSp>
        <p:nvGrpSpPr>
          <p:cNvPr id="172" name="Группа 171"/>
          <p:cNvGrpSpPr/>
          <p:nvPr/>
        </p:nvGrpSpPr>
        <p:grpSpPr>
          <a:xfrm>
            <a:off x="2630260" y="5205082"/>
            <a:ext cx="855423" cy="876974"/>
            <a:chOff x="4751246" y="1603329"/>
            <a:chExt cx="1770345" cy="1770345"/>
          </a:xfrm>
        </p:grpSpPr>
        <p:pic>
          <p:nvPicPr>
            <p:cNvPr id="173" name="Рисунок 172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51246" y="1603329"/>
              <a:ext cx="1770345" cy="1770345"/>
            </a:xfrm>
            <a:prstGeom prst="rect">
              <a:avLst/>
            </a:prstGeom>
          </p:spPr>
        </p:pic>
        <p:pic>
          <p:nvPicPr>
            <p:cNvPr id="174" name="Рисунок 173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5398612" y="2258858"/>
              <a:ext cx="463062" cy="970516"/>
            </a:xfrm>
            <a:prstGeom prst="rect">
              <a:avLst/>
            </a:prstGeom>
          </p:spPr>
        </p:pic>
      </p:grpSp>
      <p:grpSp>
        <p:nvGrpSpPr>
          <p:cNvPr id="175" name="Группа 174"/>
          <p:cNvGrpSpPr/>
          <p:nvPr/>
        </p:nvGrpSpPr>
        <p:grpSpPr>
          <a:xfrm>
            <a:off x="1807423" y="5197943"/>
            <a:ext cx="855423" cy="876974"/>
            <a:chOff x="4751246" y="1603329"/>
            <a:chExt cx="1770345" cy="1770345"/>
          </a:xfrm>
        </p:grpSpPr>
        <p:pic>
          <p:nvPicPr>
            <p:cNvPr id="176" name="Рисунок 175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51246" y="1603329"/>
              <a:ext cx="1770345" cy="1770345"/>
            </a:xfrm>
            <a:prstGeom prst="rect">
              <a:avLst/>
            </a:prstGeom>
          </p:spPr>
        </p:pic>
        <p:pic>
          <p:nvPicPr>
            <p:cNvPr id="177" name="Рисунок 176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5398612" y="2258858"/>
              <a:ext cx="463062" cy="970516"/>
            </a:xfrm>
            <a:prstGeom prst="rect">
              <a:avLst/>
            </a:prstGeom>
          </p:spPr>
        </p:pic>
      </p:grpSp>
      <p:grpSp>
        <p:nvGrpSpPr>
          <p:cNvPr id="178" name="Группа 177"/>
          <p:cNvGrpSpPr/>
          <p:nvPr/>
        </p:nvGrpSpPr>
        <p:grpSpPr>
          <a:xfrm>
            <a:off x="996976" y="5205082"/>
            <a:ext cx="855423" cy="876974"/>
            <a:chOff x="4751246" y="1603329"/>
            <a:chExt cx="1770345" cy="1770345"/>
          </a:xfrm>
        </p:grpSpPr>
        <p:pic>
          <p:nvPicPr>
            <p:cNvPr id="179" name="Рисунок 178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51246" y="1603329"/>
              <a:ext cx="1770345" cy="1770345"/>
            </a:xfrm>
            <a:prstGeom prst="rect">
              <a:avLst/>
            </a:prstGeom>
          </p:spPr>
        </p:pic>
        <p:pic>
          <p:nvPicPr>
            <p:cNvPr id="180" name="Рисунок 179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5398612" y="2258858"/>
              <a:ext cx="463062" cy="970516"/>
            </a:xfrm>
            <a:prstGeom prst="rect">
              <a:avLst/>
            </a:prstGeom>
          </p:spPr>
        </p:pic>
      </p:grpSp>
      <p:grpSp>
        <p:nvGrpSpPr>
          <p:cNvPr id="181" name="Группа 180"/>
          <p:cNvGrpSpPr/>
          <p:nvPr/>
        </p:nvGrpSpPr>
        <p:grpSpPr>
          <a:xfrm>
            <a:off x="177791" y="5212459"/>
            <a:ext cx="855423" cy="876974"/>
            <a:chOff x="4751246" y="1603329"/>
            <a:chExt cx="1770345" cy="1770345"/>
          </a:xfrm>
        </p:grpSpPr>
        <p:pic>
          <p:nvPicPr>
            <p:cNvPr id="182" name="Рисунок 181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51246" y="1603329"/>
              <a:ext cx="1770345" cy="1770345"/>
            </a:xfrm>
            <a:prstGeom prst="rect">
              <a:avLst/>
            </a:prstGeom>
          </p:spPr>
        </p:pic>
        <p:pic>
          <p:nvPicPr>
            <p:cNvPr id="183" name="Рисунок 182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5398612" y="2258858"/>
              <a:ext cx="463062" cy="970516"/>
            </a:xfrm>
            <a:prstGeom prst="rect">
              <a:avLst/>
            </a:prstGeom>
          </p:spPr>
        </p:pic>
      </p:grpSp>
      <p:grpSp>
        <p:nvGrpSpPr>
          <p:cNvPr id="184" name="Группа 183"/>
          <p:cNvGrpSpPr/>
          <p:nvPr/>
        </p:nvGrpSpPr>
        <p:grpSpPr>
          <a:xfrm>
            <a:off x="4337998" y="5188130"/>
            <a:ext cx="855423" cy="876974"/>
            <a:chOff x="4751246" y="1603329"/>
            <a:chExt cx="1770345" cy="1770345"/>
          </a:xfrm>
        </p:grpSpPr>
        <p:pic>
          <p:nvPicPr>
            <p:cNvPr id="185" name="Рисунок 184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51246" y="1603329"/>
              <a:ext cx="1770345" cy="1770345"/>
            </a:xfrm>
            <a:prstGeom prst="rect">
              <a:avLst/>
            </a:prstGeom>
          </p:spPr>
        </p:pic>
        <p:pic>
          <p:nvPicPr>
            <p:cNvPr id="186" name="Рисунок 185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5398612" y="2258858"/>
              <a:ext cx="463062" cy="970516"/>
            </a:xfrm>
            <a:prstGeom prst="rect">
              <a:avLst/>
            </a:prstGeom>
          </p:spPr>
        </p:pic>
      </p:grpSp>
      <p:grpSp>
        <p:nvGrpSpPr>
          <p:cNvPr id="187" name="Группа 186"/>
          <p:cNvGrpSpPr/>
          <p:nvPr/>
        </p:nvGrpSpPr>
        <p:grpSpPr>
          <a:xfrm>
            <a:off x="5141820" y="5212459"/>
            <a:ext cx="855423" cy="876974"/>
            <a:chOff x="4751246" y="1603329"/>
            <a:chExt cx="1770345" cy="1770345"/>
          </a:xfrm>
        </p:grpSpPr>
        <p:pic>
          <p:nvPicPr>
            <p:cNvPr id="188" name="Рисунок 187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51246" y="1603329"/>
              <a:ext cx="1770345" cy="1770345"/>
            </a:xfrm>
            <a:prstGeom prst="rect">
              <a:avLst/>
            </a:prstGeom>
          </p:spPr>
        </p:pic>
        <p:pic>
          <p:nvPicPr>
            <p:cNvPr id="189" name="Рисунок 188"/>
            <p:cNvPicPr>
              <a:picLocks noChangeAspect="1"/>
            </p:cNvPicPr>
            <p:nvPr/>
          </p:nvPicPr>
          <p:blipFill rotWithShape="1">
            <a:blip r:embed="rId11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5398612" y="2258858"/>
              <a:ext cx="463062" cy="970516"/>
            </a:xfrm>
            <a:prstGeom prst="rect">
              <a:avLst/>
            </a:prstGeom>
          </p:spPr>
        </p:pic>
      </p:grpSp>
      <p:pic>
        <p:nvPicPr>
          <p:cNvPr id="192" name="Рисунок 191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8858425" y="4904381"/>
            <a:ext cx="374085" cy="803784"/>
          </a:xfrm>
          <a:prstGeom prst="rect">
            <a:avLst/>
          </a:prstGeom>
        </p:spPr>
      </p:pic>
      <p:pic>
        <p:nvPicPr>
          <p:cNvPr id="193" name="Рисунок 192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8639903" y="4136560"/>
            <a:ext cx="363968" cy="711787"/>
          </a:xfrm>
          <a:prstGeom prst="rect">
            <a:avLst/>
          </a:prstGeom>
        </p:spPr>
      </p:pic>
      <p:pic>
        <p:nvPicPr>
          <p:cNvPr id="206" name="Рисунок 205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9039537" y="4136560"/>
            <a:ext cx="363968" cy="711787"/>
          </a:xfrm>
          <a:prstGeom prst="rect">
            <a:avLst/>
          </a:prstGeom>
        </p:spPr>
      </p:pic>
      <p:pic>
        <p:nvPicPr>
          <p:cNvPr id="207" name="Рисунок 206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9439471" y="4136560"/>
            <a:ext cx="363968" cy="711787"/>
          </a:xfrm>
          <a:prstGeom prst="rect">
            <a:avLst/>
          </a:prstGeom>
        </p:spPr>
      </p:pic>
      <p:pic>
        <p:nvPicPr>
          <p:cNvPr id="208" name="Рисунок 207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9805452" y="4138798"/>
            <a:ext cx="363968" cy="711787"/>
          </a:xfrm>
          <a:prstGeom prst="rect">
            <a:avLst/>
          </a:prstGeom>
        </p:spPr>
      </p:pic>
      <p:pic>
        <p:nvPicPr>
          <p:cNvPr id="209" name="Рисунок 208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10189326" y="4136560"/>
            <a:ext cx="363968" cy="711787"/>
          </a:xfrm>
          <a:prstGeom prst="rect">
            <a:avLst/>
          </a:prstGeom>
        </p:spPr>
      </p:pic>
      <p:pic>
        <p:nvPicPr>
          <p:cNvPr id="210" name="Рисунок 209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10564798" y="4136560"/>
            <a:ext cx="363968" cy="711787"/>
          </a:xfrm>
          <a:prstGeom prst="rect">
            <a:avLst/>
          </a:prstGeom>
        </p:spPr>
      </p:pic>
      <p:pic>
        <p:nvPicPr>
          <p:cNvPr id="211" name="Рисунок 210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10916076" y="4146796"/>
            <a:ext cx="363968" cy="711787"/>
          </a:xfrm>
          <a:prstGeom prst="rect">
            <a:avLst/>
          </a:prstGeom>
        </p:spPr>
      </p:pic>
      <p:pic>
        <p:nvPicPr>
          <p:cNvPr id="212" name="Рисунок 211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11298587" y="4142981"/>
            <a:ext cx="363968" cy="711787"/>
          </a:xfrm>
          <a:prstGeom prst="rect">
            <a:avLst/>
          </a:prstGeom>
        </p:spPr>
      </p:pic>
      <p:pic>
        <p:nvPicPr>
          <p:cNvPr id="213" name="Рисунок 212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9258002" y="4904381"/>
            <a:ext cx="374085" cy="803784"/>
          </a:xfrm>
          <a:prstGeom prst="rect">
            <a:avLst/>
          </a:prstGeom>
        </p:spPr>
      </p:pic>
      <p:pic>
        <p:nvPicPr>
          <p:cNvPr id="214" name="Рисунок 213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9632087" y="4912832"/>
            <a:ext cx="374085" cy="803784"/>
          </a:xfrm>
          <a:prstGeom prst="rect">
            <a:avLst/>
          </a:prstGeom>
        </p:spPr>
      </p:pic>
      <p:pic>
        <p:nvPicPr>
          <p:cNvPr id="215" name="Рисунок 214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10006172" y="4904381"/>
            <a:ext cx="374085" cy="803784"/>
          </a:xfrm>
          <a:prstGeom prst="rect">
            <a:avLst/>
          </a:prstGeom>
        </p:spPr>
      </p:pic>
      <p:pic>
        <p:nvPicPr>
          <p:cNvPr id="216" name="Рисунок 215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10408558" y="4924571"/>
            <a:ext cx="374085" cy="803784"/>
          </a:xfrm>
          <a:prstGeom prst="rect">
            <a:avLst/>
          </a:prstGeom>
        </p:spPr>
      </p:pic>
      <p:pic>
        <p:nvPicPr>
          <p:cNvPr id="217" name="Рисунок 216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10804829" y="4924571"/>
            <a:ext cx="374085" cy="803784"/>
          </a:xfrm>
          <a:prstGeom prst="rect">
            <a:avLst/>
          </a:prstGeom>
        </p:spPr>
      </p:pic>
      <p:pic>
        <p:nvPicPr>
          <p:cNvPr id="218" name="Рисунок 217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11146657" y="4925623"/>
            <a:ext cx="374085" cy="803784"/>
          </a:xfrm>
          <a:prstGeom prst="rect">
            <a:avLst/>
          </a:prstGeom>
        </p:spPr>
      </p:pic>
      <p:pic>
        <p:nvPicPr>
          <p:cNvPr id="222" name="Рисунок 221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476685" y="4643772"/>
            <a:ext cx="250067" cy="491154"/>
          </a:xfrm>
          <a:prstGeom prst="rect">
            <a:avLst/>
          </a:prstGeom>
        </p:spPr>
      </p:pic>
      <p:pic>
        <p:nvPicPr>
          <p:cNvPr id="223" name="Рисунок 222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1273137" y="4635560"/>
            <a:ext cx="250067" cy="491154"/>
          </a:xfrm>
          <a:prstGeom prst="rect">
            <a:avLst/>
          </a:prstGeom>
        </p:spPr>
      </p:pic>
      <p:pic>
        <p:nvPicPr>
          <p:cNvPr id="224" name="Рисунок 223"/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4597268" y="4637927"/>
            <a:ext cx="250067" cy="491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2147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78459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7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330210" y="5863770"/>
            <a:ext cx="1475981" cy="74364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latin typeface="Arial Black" panose="020B0A04020102020204" pitchFamily="34" charset="0"/>
              </a:rPr>
              <a:t>KZ</a:t>
            </a:r>
            <a:endParaRPr lang="ru-RU" sz="4000" dirty="0">
              <a:latin typeface="Arial Black" panose="020B0A040201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2115288" y="5863770"/>
            <a:ext cx="1475981" cy="74364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latin typeface="Arial Black" panose="020B0A04020102020204" pitchFamily="34" charset="0"/>
              </a:rPr>
              <a:t>CN</a:t>
            </a:r>
            <a:endParaRPr lang="ru-RU" sz="4000" dirty="0">
              <a:latin typeface="Arial Black" panose="020B0A040201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7971403"/>
              </p:ext>
            </p:extLst>
          </p:nvPr>
        </p:nvGraphicFramePr>
        <p:xfrm>
          <a:off x="334020" y="1178775"/>
          <a:ext cx="5740778" cy="307467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9337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070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2144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6</a:t>
                      </a:r>
                    </a:p>
                    <a:p>
                      <a:pPr algn="ctr" fontAlgn="b"/>
                      <a:r>
                        <a:rPr lang="ru-RU" sz="1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6</a:t>
                      </a:r>
                    </a:p>
                    <a:p>
                      <a:pPr algn="ctr" fontAlgn="b"/>
                      <a:r>
                        <a:rPr lang="ru-RU" sz="1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  <a:endParaRPr lang="ru-RU" sz="18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рославская</a:t>
                      </a:r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бласть</a:t>
                      </a:r>
                      <a:endParaRPr lang="ru-RU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вердловская область</a:t>
                      </a:r>
                    </a:p>
                    <a:p>
                      <a:pPr algn="l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лгородская</a:t>
                      </a:r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бласть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946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endParaRPr lang="ru-RU" sz="18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логодская</a:t>
                      </a:r>
                      <a:r>
                        <a:rPr lang="ru-RU" sz="1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бласть</a:t>
                      </a:r>
                      <a:endParaRPr lang="ru-RU" sz="18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946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5</a:t>
                      </a:r>
                      <a:endParaRPr lang="ru-RU" sz="18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рганская</a:t>
                      </a:r>
                      <a:r>
                        <a:rPr lang="ru-RU" sz="1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бласть</a:t>
                      </a:r>
                      <a:endParaRPr lang="ru-RU" sz="18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46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</a:t>
                      </a:r>
                      <a:endParaRPr lang="ru-RU" sz="18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сковская область</a:t>
                      </a:r>
                      <a:endParaRPr lang="ru-RU" sz="18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946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</a:t>
                      </a:r>
                      <a:endParaRPr lang="ru-RU" sz="18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лужская</a:t>
                      </a:r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бласть</a:t>
                      </a:r>
                      <a:endParaRPr lang="ru-RU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9243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</a:t>
                      </a:r>
                    </a:p>
                    <a:p>
                      <a:pPr algn="ctr" fontAlgn="b"/>
                      <a:r>
                        <a:rPr lang="ru-RU" sz="1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3</a:t>
                      </a:r>
                    </a:p>
                    <a:p>
                      <a:pPr algn="ctr" fontAlgn="b"/>
                      <a:r>
                        <a:rPr lang="ru-RU" sz="1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</a:t>
                      </a:r>
                    </a:p>
                    <a:p>
                      <a:pPr algn="ctr" fontAlgn="b"/>
                      <a:r>
                        <a:rPr lang="ru-RU" sz="1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7</a:t>
                      </a:r>
                      <a:endParaRPr lang="ru-RU" sz="18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мский</a:t>
                      </a:r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рай</a:t>
                      </a:r>
                      <a:endParaRPr lang="ru-RU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марская</a:t>
                      </a:r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бласть</a:t>
                      </a:r>
                      <a:endParaRPr lang="ru-RU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ярский</a:t>
                      </a:r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рай</a:t>
                      </a:r>
                      <a:endParaRPr lang="ru-RU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сква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96" name="Рисунок 95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715572" y="4372395"/>
            <a:ext cx="711579" cy="1491375"/>
          </a:xfrm>
          <a:prstGeom prst="rect">
            <a:avLst/>
          </a:prstGeom>
        </p:spPr>
      </p:pic>
      <p:pic>
        <p:nvPicPr>
          <p:cNvPr id="103" name="Рисунок 102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2489491" y="4372395"/>
            <a:ext cx="711579" cy="1491375"/>
          </a:xfrm>
          <a:prstGeom prst="rect">
            <a:avLst/>
          </a:prstGeom>
        </p:spPr>
      </p:pic>
      <p:sp>
        <p:nvSpPr>
          <p:cNvPr id="69" name="Прямоугольник 68"/>
          <p:cNvSpPr/>
          <p:nvPr/>
        </p:nvSpPr>
        <p:spPr>
          <a:xfrm>
            <a:off x="4674015" y="2102682"/>
            <a:ext cx="1475981" cy="88726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>
                <a:latin typeface="Arial Black" panose="020B0A04020102020204" pitchFamily="34" charset="0"/>
              </a:rPr>
              <a:t>RU</a:t>
            </a:r>
            <a:endParaRPr lang="ru-RU" sz="4000" dirty="0">
              <a:latin typeface="Arial Black" panose="020B0A04020102020204" pitchFamily="34" charset="0"/>
            </a:endParaRPr>
          </a:p>
        </p:txBody>
      </p:sp>
      <p:pic>
        <p:nvPicPr>
          <p:cNvPr id="98" name="Рисунок 97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9700644" y="1087575"/>
            <a:ext cx="585784" cy="1117425"/>
          </a:xfrm>
          <a:prstGeom prst="rect">
            <a:avLst/>
          </a:prstGeom>
        </p:spPr>
      </p:pic>
      <p:sp>
        <p:nvSpPr>
          <p:cNvPr id="111" name="Скругленный прямоугольник 110"/>
          <p:cNvSpPr/>
          <p:nvPr/>
        </p:nvSpPr>
        <p:spPr>
          <a:xfrm>
            <a:off x="9318914" y="1355309"/>
            <a:ext cx="390756" cy="2172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 smtClean="0">
                <a:solidFill>
                  <a:prstClr val="black"/>
                </a:solidFill>
                <a:latin typeface="Arial Black" panose="020B0A04020102020204" pitchFamily="34" charset="0"/>
              </a:rPr>
              <a:t>50</a:t>
            </a:r>
            <a:endParaRPr lang="ru-RU" sz="1050" dirty="0">
              <a:solidFill>
                <a:prstClr val="black"/>
              </a:solidFill>
              <a:latin typeface="Arial Black" panose="020B0A04020102020204" pitchFamily="34" charset="0"/>
            </a:endParaRPr>
          </a:p>
        </p:txBody>
      </p:sp>
      <p:pic>
        <p:nvPicPr>
          <p:cNvPr id="120" name="Рисунок 119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11261506" y="1087575"/>
            <a:ext cx="533156" cy="1117425"/>
          </a:xfrm>
          <a:prstGeom prst="rect">
            <a:avLst/>
          </a:prstGeom>
        </p:spPr>
      </p:pic>
      <p:pic>
        <p:nvPicPr>
          <p:cNvPr id="121" name="Рисунок 120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8151356" y="1087575"/>
            <a:ext cx="533156" cy="1117425"/>
          </a:xfrm>
          <a:prstGeom prst="rect">
            <a:avLst/>
          </a:prstGeom>
        </p:spPr>
      </p:pic>
      <p:sp>
        <p:nvSpPr>
          <p:cNvPr id="122" name="Скругленный прямоугольник 121"/>
          <p:cNvSpPr/>
          <p:nvPr/>
        </p:nvSpPr>
        <p:spPr>
          <a:xfrm>
            <a:off x="10851295" y="1381106"/>
            <a:ext cx="390756" cy="2172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 smtClean="0">
                <a:solidFill>
                  <a:prstClr val="black"/>
                </a:solidFill>
                <a:latin typeface="Arial Black" panose="020B0A04020102020204" pitchFamily="34" charset="0"/>
              </a:rPr>
              <a:t>31</a:t>
            </a:r>
            <a:endParaRPr lang="ru-RU" sz="1050" dirty="0">
              <a:solidFill>
                <a:prstClr val="black"/>
              </a:solidFill>
              <a:latin typeface="Arial Black" panose="020B0A04020102020204" pitchFamily="34" charset="0"/>
            </a:endParaRPr>
          </a:p>
        </p:txBody>
      </p:sp>
      <p:sp>
        <p:nvSpPr>
          <p:cNvPr id="124" name="Скругленный прямоугольник 123"/>
          <p:cNvSpPr/>
          <p:nvPr/>
        </p:nvSpPr>
        <p:spPr>
          <a:xfrm>
            <a:off x="7685606" y="1336341"/>
            <a:ext cx="397967" cy="2172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 smtClean="0">
                <a:solidFill>
                  <a:prstClr val="black"/>
                </a:solidFill>
                <a:latin typeface="Arial Black" panose="020B0A04020102020204" pitchFamily="34" charset="0"/>
              </a:rPr>
              <a:t>77</a:t>
            </a:r>
            <a:endParaRPr lang="ru-RU" sz="1050" dirty="0">
              <a:solidFill>
                <a:prstClr val="black"/>
              </a:solidFill>
              <a:latin typeface="Arial Black" panose="020B0A040201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5271" y="-9370"/>
            <a:ext cx="121610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Географическое распределение студентов программы </a:t>
            </a:r>
            <a:endParaRPr kumimoji="0" lang="ru-RU" sz="3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157" name="Прямая соединительная линия 156"/>
          <p:cNvCxnSpPr/>
          <p:nvPr/>
        </p:nvCxnSpPr>
        <p:spPr>
          <a:xfrm flipV="1">
            <a:off x="159727" y="774838"/>
            <a:ext cx="11734944" cy="24013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</p:cxnSp>
      <p:sp>
        <p:nvSpPr>
          <p:cNvPr id="4" name="Овал 3"/>
          <p:cNvSpPr/>
          <p:nvPr/>
        </p:nvSpPr>
        <p:spPr>
          <a:xfrm>
            <a:off x="7569642" y="1624886"/>
            <a:ext cx="640908" cy="577625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atin typeface="Arial Black" panose="020B0A04020102020204" pitchFamily="34" charset="0"/>
              </a:rPr>
              <a:t>18</a:t>
            </a:r>
            <a:endParaRPr lang="ru-RU" sz="1600" dirty="0">
              <a:latin typeface="Arial Black" panose="020B0A04020102020204" pitchFamily="34" charset="0"/>
            </a:endParaRPr>
          </a:p>
        </p:txBody>
      </p:sp>
      <p:sp>
        <p:nvSpPr>
          <p:cNvPr id="74" name="Овал 73"/>
          <p:cNvSpPr/>
          <p:nvPr/>
        </p:nvSpPr>
        <p:spPr>
          <a:xfrm>
            <a:off x="9190027" y="1646005"/>
            <a:ext cx="640908" cy="57762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atin typeface="Arial Black" panose="020B0A04020102020204" pitchFamily="34" charset="0"/>
              </a:rPr>
              <a:t>7</a:t>
            </a:r>
            <a:endParaRPr lang="ru-RU" sz="1600" dirty="0">
              <a:latin typeface="Arial Black" panose="020B0A04020102020204" pitchFamily="34" charset="0"/>
            </a:endParaRPr>
          </a:p>
        </p:txBody>
      </p:sp>
      <p:sp>
        <p:nvSpPr>
          <p:cNvPr id="75" name="Овал 74"/>
          <p:cNvSpPr/>
          <p:nvPr/>
        </p:nvSpPr>
        <p:spPr>
          <a:xfrm>
            <a:off x="10718248" y="1672238"/>
            <a:ext cx="640908" cy="577625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atin typeface="Arial Black" panose="020B0A04020102020204" pitchFamily="34" charset="0"/>
              </a:rPr>
              <a:t>1</a:t>
            </a:r>
            <a:endParaRPr lang="ru-RU" sz="1600" dirty="0">
              <a:latin typeface="Arial Black" panose="020B0A04020102020204" pitchFamily="34" charset="0"/>
            </a:endParaRPr>
          </a:p>
        </p:txBody>
      </p:sp>
      <p:pic>
        <p:nvPicPr>
          <p:cNvPr id="76" name="Рисунок 75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8168968" y="2774023"/>
            <a:ext cx="585784" cy="1117425"/>
          </a:xfrm>
          <a:prstGeom prst="rect">
            <a:avLst/>
          </a:prstGeom>
        </p:spPr>
      </p:pic>
      <p:sp>
        <p:nvSpPr>
          <p:cNvPr id="77" name="Скругленный прямоугольник 76"/>
          <p:cNvSpPr/>
          <p:nvPr/>
        </p:nvSpPr>
        <p:spPr>
          <a:xfrm>
            <a:off x="7745960" y="3028546"/>
            <a:ext cx="390756" cy="2172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 smtClean="0">
                <a:solidFill>
                  <a:prstClr val="black"/>
                </a:solidFill>
                <a:latin typeface="Arial Black" panose="020B0A04020102020204" pitchFamily="34" charset="0"/>
              </a:rPr>
              <a:t>35</a:t>
            </a:r>
            <a:endParaRPr lang="ru-RU" sz="1050" dirty="0">
              <a:solidFill>
                <a:prstClr val="black"/>
              </a:solidFill>
              <a:latin typeface="Arial Black" panose="020B0A04020102020204" pitchFamily="34" charset="0"/>
            </a:endParaRPr>
          </a:p>
        </p:txBody>
      </p:sp>
      <p:sp>
        <p:nvSpPr>
          <p:cNvPr id="78" name="Овал 77"/>
          <p:cNvSpPr/>
          <p:nvPr/>
        </p:nvSpPr>
        <p:spPr>
          <a:xfrm>
            <a:off x="7658351" y="3332453"/>
            <a:ext cx="640908" cy="57762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atin typeface="Arial Black" panose="020B0A04020102020204" pitchFamily="34" charset="0"/>
              </a:rPr>
              <a:t>1</a:t>
            </a:r>
            <a:endParaRPr lang="ru-RU" sz="1600" dirty="0">
              <a:latin typeface="Arial Black" panose="020B0A04020102020204" pitchFamily="34" charset="0"/>
            </a:endParaRPr>
          </a:p>
        </p:txBody>
      </p:sp>
      <p:pic>
        <p:nvPicPr>
          <p:cNvPr id="79" name="Рисунок 78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9783042" y="2769604"/>
            <a:ext cx="533156" cy="1117425"/>
          </a:xfrm>
          <a:prstGeom prst="rect">
            <a:avLst/>
          </a:prstGeom>
        </p:spPr>
      </p:pic>
      <p:sp>
        <p:nvSpPr>
          <p:cNvPr id="80" name="Скругленный прямоугольник 79"/>
          <p:cNvSpPr/>
          <p:nvPr/>
        </p:nvSpPr>
        <p:spPr>
          <a:xfrm>
            <a:off x="9336785" y="3057266"/>
            <a:ext cx="390756" cy="2172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 smtClean="0">
                <a:solidFill>
                  <a:prstClr val="black"/>
                </a:solidFill>
                <a:latin typeface="Arial Black" panose="020B0A04020102020204" pitchFamily="34" charset="0"/>
              </a:rPr>
              <a:t>24</a:t>
            </a:r>
            <a:endParaRPr lang="ru-RU" sz="1050" dirty="0">
              <a:solidFill>
                <a:prstClr val="black"/>
              </a:solidFill>
              <a:latin typeface="Arial Black" panose="020B0A04020102020204" pitchFamily="34" charset="0"/>
            </a:endParaRPr>
          </a:p>
        </p:txBody>
      </p:sp>
      <p:sp>
        <p:nvSpPr>
          <p:cNvPr id="81" name="Овал 80"/>
          <p:cNvSpPr/>
          <p:nvPr/>
        </p:nvSpPr>
        <p:spPr>
          <a:xfrm>
            <a:off x="9239784" y="3354267"/>
            <a:ext cx="640908" cy="577625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atin typeface="Arial Black" panose="020B0A04020102020204" pitchFamily="34" charset="0"/>
              </a:rPr>
              <a:t>1</a:t>
            </a:r>
            <a:endParaRPr lang="ru-RU" sz="1600" dirty="0">
              <a:latin typeface="Arial Black" panose="020B0A04020102020204" pitchFamily="34" charset="0"/>
            </a:endParaRPr>
          </a:p>
        </p:txBody>
      </p:sp>
      <p:pic>
        <p:nvPicPr>
          <p:cNvPr id="82" name="Рисунок 81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11228865" y="2769604"/>
            <a:ext cx="585784" cy="1117425"/>
          </a:xfrm>
          <a:prstGeom prst="rect">
            <a:avLst/>
          </a:prstGeom>
        </p:spPr>
      </p:pic>
      <p:sp>
        <p:nvSpPr>
          <p:cNvPr id="83" name="Скругленный прямоугольник 82"/>
          <p:cNvSpPr/>
          <p:nvPr/>
        </p:nvSpPr>
        <p:spPr>
          <a:xfrm>
            <a:off x="10848922" y="3041843"/>
            <a:ext cx="390756" cy="21729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 smtClean="0">
                <a:solidFill>
                  <a:prstClr val="black"/>
                </a:solidFill>
                <a:latin typeface="Arial Black" panose="020B0A04020102020204" pitchFamily="34" charset="0"/>
              </a:rPr>
              <a:t>40</a:t>
            </a:r>
            <a:endParaRPr lang="ru-RU" sz="1050" dirty="0">
              <a:solidFill>
                <a:prstClr val="black"/>
              </a:solidFill>
              <a:latin typeface="Arial Black" panose="020B0A04020102020204" pitchFamily="34" charset="0"/>
            </a:endParaRPr>
          </a:p>
        </p:txBody>
      </p:sp>
      <p:sp>
        <p:nvSpPr>
          <p:cNvPr id="84" name="Овал 83"/>
          <p:cNvSpPr/>
          <p:nvPr/>
        </p:nvSpPr>
        <p:spPr>
          <a:xfrm>
            <a:off x="10718248" y="3328034"/>
            <a:ext cx="640908" cy="57762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atin typeface="Arial Black" panose="020B0A04020102020204" pitchFamily="34" charset="0"/>
              </a:rPr>
              <a:t>1</a:t>
            </a:r>
            <a:endParaRPr lang="ru-RU" sz="1600" dirty="0">
              <a:latin typeface="Arial Black" panose="020B0A04020102020204" pitchFamily="34" charset="0"/>
            </a:endParaRPr>
          </a:p>
        </p:txBody>
      </p:sp>
      <p:pic>
        <p:nvPicPr>
          <p:cNvPr id="85" name="Рисунок 84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11213241" y="4156033"/>
            <a:ext cx="594726" cy="1246466"/>
          </a:xfrm>
          <a:prstGeom prst="rect">
            <a:avLst/>
          </a:prstGeom>
        </p:spPr>
      </p:pic>
      <p:sp>
        <p:nvSpPr>
          <p:cNvPr id="86" name="Скругленный прямоугольник 85"/>
          <p:cNvSpPr/>
          <p:nvPr/>
        </p:nvSpPr>
        <p:spPr>
          <a:xfrm>
            <a:off x="10819163" y="4539497"/>
            <a:ext cx="404384" cy="195641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 smtClean="0">
                <a:solidFill>
                  <a:prstClr val="black"/>
                </a:solidFill>
                <a:latin typeface="Arial Black" panose="020B0A04020102020204" pitchFamily="34" charset="0"/>
              </a:rPr>
              <a:t>45</a:t>
            </a:r>
            <a:endParaRPr lang="ru-RU" sz="1050" dirty="0">
              <a:solidFill>
                <a:prstClr val="black"/>
              </a:solidFill>
              <a:latin typeface="Arial Black" panose="020B0A04020102020204" pitchFamily="34" charset="0"/>
            </a:endParaRPr>
          </a:p>
        </p:txBody>
      </p:sp>
      <p:sp>
        <p:nvSpPr>
          <p:cNvPr id="87" name="Овал 86"/>
          <p:cNvSpPr/>
          <p:nvPr/>
        </p:nvSpPr>
        <p:spPr>
          <a:xfrm>
            <a:off x="10747502" y="4790202"/>
            <a:ext cx="578779" cy="566471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atin typeface="Arial Black" panose="020B0A04020102020204" pitchFamily="34" charset="0"/>
              </a:rPr>
              <a:t>1</a:t>
            </a:r>
            <a:endParaRPr lang="ru-RU" sz="1600" dirty="0">
              <a:latin typeface="Arial Black" panose="020B0A04020102020204" pitchFamily="34" charset="0"/>
            </a:endParaRPr>
          </a:p>
        </p:txBody>
      </p:sp>
      <p:pic>
        <p:nvPicPr>
          <p:cNvPr id="164" name="Рисунок 163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9754820" y="4208689"/>
            <a:ext cx="653431" cy="1246467"/>
          </a:xfrm>
          <a:prstGeom prst="rect">
            <a:avLst/>
          </a:prstGeom>
        </p:spPr>
      </p:pic>
      <p:sp>
        <p:nvSpPr>
          <p:cNvPr id="165" name="Скругленный прямоугольник 164"/>
          <p:cNvSpPr/>
          <p:nvPr/>
        </p:nvSpPr>
        <p:spPr>
          <a:xfrm>
            <a:off x="9270176" y="4539829"/>
            <a:ext cx="416281" cy="162694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 smtClean="0">
                <a:solidFill>
                  <a:prstClr val="black"/>
                </a:solidFill>
                <a:latin typeface="Arial Black" panose="020B0A04020102020204" pitchFamily="34" charset="0"/>
              </a:rPr>
              <a:t>63</a:t>
            </a:r>
            <a:endParaRPr lang="ru-RU" sz="1050" dirty="0">
              <a:solidFill>
                <a:prstClr val="black"/>
              </a:solidFill>
              <a:latin typeface="Arial Black" panose="020B0A04020102020204" pitchFamily="34" charset="0"/>
            </a:endParaRPr>
          </a:p>
        </p:txBody>
      </p:sp>
      <p:sp>
        <p:nvSpPr>
          <p:cNvPr id="166" name="Овал 165"/>
          <p:cNvSpPr/>
          <p:nvPr/>
        </p:nvSpPr>
        <p:spPr>
          <a:xfrm>
            <a:off x="9216958" y="4816626"/>
            <a:ext cx="578779" cy="56647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atin typeface="Arial Black" panose="020B0A04020102020204" pitchFamily="34" charset="0"/>
              </a:rPr>
              <a:t>1</a:t>
            </a:r>
            <a:endParaRPr lang="ru-RU" sz="1600" dirty="0">
              <a:latin typeface="Arial Black" panose="020B0A04020102020204" pitchFamily="34" charset="0"/>
            </a:endParaRPr>
          </a:p>
        </p:txBody>
      </p:sp>
      <p:pic>
        <p:nvPicPr>
          <p:cNvPr id="167" name="Рисунок 166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8189390" y="4191804"/>
            <a:ext cx="594726" cy="1246466"/>
          </a:xfrm>
          <a:prstGeom prst="rect">
            <a:avLst/>
          </a:prstGeom>
        </p:spPr>
      </p:pic>
      <p:sp>
        <p:nvSpPr>
          <p:cNvPr id="168" name="Скругленный прямоугольник 167"/>
          <p:cNvSpPr/>
          <p:nvPr/>
        </p:nvSpPr>
        <p:spPr>
          <a:xfrm>
            <a:off x="7773854" y="4540096"/>
            <a:ext cx="449204" cy="179580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 smtClean="0">
                <a:solidFill>
                  <a:prstClr val="black"/>
                </a:solidFill>
                <a:latin typeface="Arial Black" panose="020B0A04020102020204" pitchFamily="34" charset="0"/>
              </a:rPr>
              <a:t>59</a:t>
            </a:r>
            <a:endParaRPr lang="ru-RU" sz="1050" dirty="0">
              <a:solidFill>
                <a:prstClr val="black"/>
              </a:solidFill>
              <a:latin typeface="Arial Black" panose="020B0A04020102020204" pitchFamily="34" charset="0"/>
            </a:endParaRPr>
          </a:p>
        </p:txBody>
      </p:sp>
      <p:sp>
        <p:nvSpPr>
          <p:cNvPr id="169" name="Овал 168"/>
          <p:cNvSpPr/>
          <p:nvPr/>
        </p:nvSpPr>
        <p:spPr>
          <a:xfrm>
            <a:off x="7714415" y="4825973"/>
            <a:ext cx="578779" cy="566471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atin typeface="Arial Black" panose="020B0A04020102020204" pitchFamily="34" charset="0"/>
              </a:rPr>
              <a:t>1</a:t>
            </a:r>
            <a:endParaRPr lang="ru-RU" sz="1600" dirty="0">
              <a:latin typeface="Arial Black" panose="020B0A04020102020204" pitchFamily="34" charset="0"/>
            </a:endParaRPr>
          </a:p>
        </p:txBody>
      </p:sp>
      <p:graphicFrame>
        <p:nvGraphicFramePr>
          <p:cNvPr id="171" name="Таблица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8992710"/>
              </p:ext>
            </p:extLst>
          </p:nvPr>
        </p:nvGraphicFramePr>
        <p:xfrm>
          <a:off x="3811035" y="5294259"/>
          <a:ext cx="3538627" cy="628650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0507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878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571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Z</a:t>
                      </a:r>
                      <a:endParaRPr lang="ru-RU" sz="20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захстан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71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N</a:t>
                      </a:r>
                      <a:endParaRPr lang="ru-RU" sz="200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2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итай (КНР)</a:t>
                      </a:r>
                      <a:endParaRPr lang="ru-RU" sz="2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0" name="Овал 39"/>
          <p:cNvSpPr/>
          <p:nvPr/>
        </p:nvSpPr>
        <p:spPr>
          <a:xfrm>
            <a:off x="2883389" y="5062021"/>
            <a:ext cx="860888" cy="860888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latin typeface="Arial Black" panose="020B0A04020102020204" pitchFamily="34" charset="0"/>
              </a:rPr>
              <a:t>3</a:t>
            </a:r>
            <a:endParaRPr lang="ru-RU" sz="2400" dirty="0">
              <a:latin typeface="Arial Black" panose="020B0A04020102020204" pitchFamily="34" charset="0"/>
            </a:endParaRPr>
          </a:p>
        </p:txBody>
      </p:sp>
      <p:sp>
        <p:nvSpPr>
          <p:cNvPr id="41" name="Овал 40"/>
          <p:cNvSpPr/>
          <p:nvPr/>
        </p:nvSpPr>
        <p:spPr>
          <a:xfrm>
            <a:off x="1097433" y="5088445"/>
            <a:ext cx="860888" cy="860888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latin typeface="Arial Black" panose="020B0A04020102020204" pitchFamily="34" charset="0"/>
              </a:rPr>
              <a:t>1</a:t>
            </a:r>
            <a:endParaRPr lang="ru-RU" sz="2400" dirty="0">
              <a:latin typeface="Arial Black" panose="020B0A04020102020204" pitchFamily="34" charset="0"/>
            </a:endParaRPr>
          </a:p>
        </p:txBody>
      </p:sp>
      <p:sp>
        <p:nvSpPr>
          <p:cNvPr id="43" name="Овал 42"/>
          <p:cNvSpPr/>
          <p:nvPr/>
        </p:nvSpPr>
        <p:spPr>
          <a:xfrm>
            <a:off x="8282475" y="6118565"/>
            <a:ext cx="620740" cy="64535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latin typeface="Arial Black" panose="020B0A04020102020204" pitchFamily="34" charset="0"/>
              </a:rPr>
              <a:t>1</a:t>
            </a:r>
            <a:endParaRPr lang="ru-RU" sz="2400" dirty="0">
              <a:latin typeface="Arial Black" panose="020B0A04020102020204" pitchFamily="34" charset="0"/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8367237" y="5840224"/>
            <a:ext cx="440467" cy="222958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 smtClean="0">
                <a:solidFill>
                  <a:prstClr val="black"/>
                </a:solidFill>
                <a:latin typeface="Arial Black" panose="020B0A04020102020204" pitchFamily="34" charset="0"/>
              </a:rPr>
              <a:t>66</a:t>
            </a:r>
            <a:endParaRPr lang="ru-RU" sz="1050" dirty="0">
              <a:solidFill>
                <a:prstClr val="black"/>
              </a:solidFill>
              <a:latin typeface="Arial Black" panose="020B0A04020102020204" pitchFamily="34" charset="0"/>
            </a:endParaRPr>
          </a:p>
        </p:txBody>
      </p:sp>
      <p:sp>
        <p:nvSpPr>
          <p:cNvPr id="46" name="Овал 45"/>
          <p:cNvSpPr/>
          <p:nvPr/>
        </p:nvSpPr>
        <p:spPr>
          <a:xfrm>
            <a:off x="9765920" y="6063093"/>
            <a:ext cx="620740" cy="64535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latin typeface="Arial Black" panose="020B0A04020102020204" pitchFamily="34" charset="0"/>
              </a:rPr>
              <a:t>1</a:t>
            </a:r>
            <a:endParaRPr lang="ru-RU" sz="2400" dirty="0">
              <a:latin typeface="Arial Black" panose="020B0A04020102020204" pitchFamily="34" charset="0"/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9860398" y="5747062"/>
            <a:ext cx="436853" cy="248451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prstClr val="black"/>
                </a:solidFill>
                <a:latin typeface="Arial Black" panose="020B0A04020102020204" pitchFamily="34" charset="0"/>
              </a:rPr>
              <a:t>7</a:t>
            </a:r>
            <a:r>
              <a:rPr lang="ru-RU" sz="1050" dirty="0" smtClean="0">
                <a:solidFill>
                  <a:prstClr val="black"/>
                </a:solidFill>
                <a:latin typeface="Arial Black" panose="020B0A04020102020204" pitchFamily="34" charset="0"/>
              </a:rPr>
              <a:t>6</a:t>
            </a:r>
            <a:endParaRPr lang="ru-RU" sz="1050" dirty="0">
              <a:solidFill>
                <a:prstClr val="black"/>
              </a:solidFill>
              <a:latin typeface="Arial Black" panose="020B0A04020102020204" pitchFamily="34" charset="0"/>
            </a:endParaRP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10420754" y="5646490"/>
            <a:ext cx="585784" cy="1117425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8918864" y="5653937"/>
            <a:ext cx="585784" cy="111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503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094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2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1518594" y="2448003"/>
            <a:ext cx="738333" cy="1547447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9832922" y="3715216"/>
            <a:ext cx="811213" cy="1547448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3364900" y="5031383"/>
            <a:ext cx="811213" cy="1547448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463758" y="3252573"/>
            <a:ext cx="811213" cy="1547448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11089057" y="4422551"/>
            <a:ext cx="811213" cy="1547448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5508421" y="1305652"/>
            <a:ext cx="1268689" cy="2420116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3291548" y="3185946"/>
            <a:ext cx="811213" cy="1547448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4725213" y="4800021"/>
            <a:ext cx="811213" cy="1547448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8259480" y="1958258"/>
            <a:ext cx="811213" cy="1547448"/>
          </a:xfrm>
          <a:prstGeom prst="rect">
            <a:avLst/>
          </a:prstGeom>
        </p:spPr>
      </p:pic>
      <p:pic>
        <p:nvPicPr>
          <p:cNvPr id="56" name="Рисунок 55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6373882" y="3672108"/>
            <a:ext cx="811213" cy="1547448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10954130" y="2377819"/>
            <a:ext cx="738333" cy="1547447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7539494" y="3010250"/>
            <a:ext cx="738333" cy="1547447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4079916" y="1929218"/>
            <a:ext cx="738333" cy="1547447"/>
          </a:xfrm>
          <a:prstGeom prst="rect">
            <a:avLst/>
          </a:prstGeom>
        </p:spPr>
      </p:pic>
      <p:pic>
        <p:nvPicPr>
          <p:cNvPr id="62" name="Рисунок 61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6333262" y="5464557"/>
            <a:ext cx="581794" cy="1219362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9667999" y="1807762"/>
            <a:ext cx="738333" cy="1547447"/>
          </a:xfrm>
          <a:prstGeom prst="rect">
            <a:avLst/>
          </a:prstGeom>
        </p:spPr>
      </p:pic>
      <p:pic>
        <p:nvPicPr>
          <p:cNvPr id="64" name="Рисунок 63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4837155" y="3157951"/>
            <a:ext cx="738333" cy="1547447"/>
          </a:xfrm>
          <a:prstGeom prst="rect">
            <a:avLst/>
          </a:prstGeom>
        </p:spPr>
      </p:pic>
      <p:pic>
        <p:nvPicPr>
          <p:cNvPr id="66" name="Рисунок 65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8675812" y="4188124"/>
            <a:ext cx="738333" cy="1547447"/>
          </a:xfrm>
          <a:prstGeom prst="rect">
            <a:avLst/>
          </a:prstGeom>
        </p:spPr>
      </p:pic>
      <p:pic>
        <p:nvPicPr>
          <p:cNvPr id="68" name="Рисунок 67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1905428" y="4248609"/>
            <a:ext cx="738333" cy="1547447"/>
          </a:xfrm>
          <a:prstGeom prst="rect">
            <a:avLst/>
          </a:prstGeom>
        </p:spPr>
      </p:pic>
      <p:sp>
        <p:nvSpPr>
          <p:cNvPr id="43" name="Скругленный прямоугольник 42"/>
          <p:cNvSpPr/>
          <p:nvPr/>
        </p:nvSpPr>
        <p:spPr>
          <a:xfrm>
            <a:off x="288423" y="5879490"/>
            <a:ext cx="1086125" cy="6088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rial Black" panose="020B0A04020102020204" pitchFamily="34" charset="0"/>
              </a:rPr>
              <a:t>min</a:t>
            </a:r>
            <a:endParaRPr lang="ru-RU" sz="16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6774699" y="1875422"/>
            <a:ext cx="1086125" cy="6088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Arial Black" panose="020B0A04020102020204" pitchFamily="34" charset="0"/>
              </a:rPr>
              <a:t>178</a:t>
            </a:r>
            <a:endParaRPr lang="ru-RU" dirty="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334041" y="1506613"/>
            <a:ext cx="1086125" cy="6088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rial Black" panose="020B0A04020102020204" pitchFamily="34" charset="0"/>
              </a:rPr>
              <a:t>max</a:t>
            </a:r>
            <a:endParaRPr lang="ru-RU" sz="16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6915056" y="5969999"/>
            <a:ext cx="1086125" cy="60883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Arial Black" panose="020B0A04020102020204" pitchFamily="34" charset="0"/>
              </a:rPr>
              <a:t>9</a:t>
            </a:r>
            <a:r>
              <a:rPr lang="ru-RU" sz="1600" dirty="0">
                <a:solidFill>
                  <a:schemeClr val="tx1"/>
                </a:solidFill>
                <a:latin typeface="Arial Black" panose="020B0A04020102020204" pitchFamily="34" charset="0"/>
              </a:rPr>
              <a:t>0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51074" y="-17124"/>
            <a:ext cx="1204092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Максимальный и минимальный баллы по вступительным испытаниям студентов, принятых на программу</a:t>
            </a:r>
            <a:endParaRPr kumimoji="0" lang="ru-RU" sz="3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 flipV="1">
            <a:off x="165326" y="1168341"/>
            <a:ext cx="11734944" cy="24013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</p:cxn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2653401" y="1774802"/>
            <a:ext cx="811213" cy="154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714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347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6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3680108"/>
              </p:ext>
            </p:extLst>
          </p:nvPr>
        </p:nvGraphicFramePr>
        <p:xfrm>
          <a:off x="723652" y="1681351"/>
          <a:ext cx="5849937" cy="4959291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58499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411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РЭА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1144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ркутский государственный университет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1523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ГАУ-МСХА</a:t>
                      </a:r>
                      <a:r>
                        <a:rPr lang="ru-RU" sz="2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м. </a:t>
                      </a:r>
                      <a:r>
                        <a:rPr lang="ru-RU" sz="20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.А.Тимирязева</a:t>
                      </a:r>
                      <a:endParaRPr lang="ru-RU" sz="2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7709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У ВШЭ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793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НХиГС</a:t>
                      </a:r>
                      <a:endParaRPr lang="ru-RU" sz="2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79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У</a:t>
                      </a:r>
                      <a:r>
                        <a:rPr lang="ru-RU" sz="2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ЭИ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69110">
                <a:tc>
                  <a:txBody>
                    <a:bodyPr/>
                    <a:lstStyle/>
                    <a:p>
                      <a:pPr algn="l" fontAlgn="ctr"/>
                      <a:r>
                        <a:rPr lang="ru-RU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ГТУ</a:t>
                      </a:r>
                      <a:r>
                        <a:rPr lang="ru-RU" sz="2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м. </a:t>
                      </a:r>
                      <a:r>
                        <a:rPr lang="ru-RU" sz="20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.Э.Баумана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04865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нансовый университет при Правительстве РФ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7932">
                <a:tc>
                  <a:txBody>
                    <a:bodyPr/>
                    <a:lstStyle/>
                    <a:p>
                      <a:pPr algn="l" fontAlgn="ctr"/>
                      <a:endParaRPr lang="ru-RU" sz="20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" name="Скругленный прямоугольник 2"/>
          <p:cNvSpPr/>
          <p:nvPr/>
        </p:nvSpPr>
        <p:spPr>
          <a:xfrm>
            <a:off x="6740262" y="928913"/>
            <a:ext cx="5277567" cy="5711729"/>
          </a:xfrm>
          <a:prstGeom prst="roundRect">
            <a:avLst/>
          </a:pr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Прямоугольник 69"/>
          <p:cNvSpPr/>
          <p:nvPr/>
        </p:nvSpPr>
        <p:spPr>
          <a:xfrm>
            <a:off x="8059437" y="691485"/>
            <a:ext cx="2303465" cy="71484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600" dirty="0" smtClean="0">
                <a:latin typeface="Arial Black" panose="020B0A04020102020204" pitchFamily="34" charset="0"/>
              </a:rPr>
              <a:t>МГУ</a:t>
            </a:r>
            <a:endParaRPr lang="ru-RU" sz="1100" dirty="0">
              <a:latin typeface="Arial Black" panose="020B0A040201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014508" y="2426370"/>
            <a:ext cx="74097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</a:t>
            </a:r>
            <a:endParaRPr lang="ru-RU" sz="28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7316320" y="3874556"/>
            <a:ext cx="94436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ШГА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15649" y="3587429"/>
            <a:ext cx="2829518" cy="1773638"/>
            <a:chOff x="-4839" y="870837"/>
            <a:chExt cx="2829518" cy="1580232"/>
          </a:xfrm>
        </p:grpSpPr>
        <p:pic>
          <p:nvPicPr>
            <p:cNvPr id="61" name="Рисунок 60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2606350" y="870837"/>
              <a:ext cx="218329" cy="457589"/>
            </a:xfrm>
            <a:prstGeom prst="rect">
              <a:avLst/>
            </a:prstGeom>
          </p:spPr>
        </p:pic>
        <p:sp>
          <p:nvSpPr>
            <p:cNvPr id="5" name="TextBox 4"/>
            <p:cNvSpPr txBox="1"/>
            <p:nvPr/>
          </p:nvSpPr>
          <p:spPr>
            <a:xfrm>
              <a:off x="-4839" y="2081737"/>
              <a:ext cx="24237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.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356544" y="3004497"/>
            <a:ext cx="2209133" cy="2663109"/>
            <a:chOff x="350301" y="2566585"/>
            <a:chExt cx="2209133" cy="2372710"/>
          </a:xfrm>
        </p:grpSpPr>
        <p:pic>
          <p:nvPicPr>
            <p:cNvPr id="50" name="Рисунок 49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053"/>
            <a:stretch/>
          </p:blipFill>
          <p:spPr>
            <a:xfrm>
              <a:off x="350301" y="4481706"/>
              <a:ext cx="239880" cy="457589"/>
            </a:xfrm>
            <a:prstGeom prst="rect">
              <a:avLst/>
            </a:prstGeom>
          </p:spPr>
        </p:pic>
        <p:pic>
          <p:nvPicPr>
            <p:cNvPr id="62" name="Рисунок 61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402645" y="2566585"/>
              <a:ext cx="218329" cy="457589"/>
            </a:xfrm>
            <a:prstGeom prst="rect">
              <a:avLst/>
            </a:prstGeom>
          </p:spPr>
        </p:pic>
        <p:pic>
          <p:nvPicPr>
            <p:cNvPr id="66" name="Рисунок 65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2341105" y="3081768"/>
              <a:ext cx="218329" cy="457589"/>
            </a:xfrm>
            <a:prstGeom prst="rect">
              <a:avLst/>
            </a:prstGeom>
          </p:spPr>
        </p:pic>
        <p:pic>
          <p:nvPicPr>
            <p:cNvPr id="42" name="Рисунок 41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371852" y="3559204"/>
              <a:ext cx="218329" cy="457589"/>
            </a:xfrm>
            <a:prstGeom prst="rect">
              <a:avLst/>
            </a:prstGeom>
          </p:spPr>
        </p:pic>
      </p:grpSp>
      <p:grpSp>
        <p:nvGrpSpPr>
          <p:cNvPr id="9" name="Группа 8"/>
          <p:cNvGrpSpPr/>
          <p:nvPr/>
        </p:nvGrpSpPr>
        <p:grpSpPr>
          <a:xfrm>
            <a:off x="8259064" y="1786442"/>
            <a:ext cx="3208186" cy="1538720"/>
            <a:chOff x="8545775" y="1390300"/>
            <a:chExt cx="3950842" cy="1972975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053"/>
            <a:stretch/>
          </p:blipFill>
          <p:spPr>
            <a:xfrm>
              <a:off x="10823513" y="2426832"/>
              <a:ext cx="479760" cy="915177"/>
            </a:xfrm>
            <a:prstGeom prst="rect">
              <a:avLst/>
            </a:prstGeom>
          </p:spPr>
        </p:pic>
        <p:pic>
          <p:nvPicPr>
            <p:cNvPr id="47" name="Рисунок 46"/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053"/>
            <a:stretch/>
          </p:blipFill>
          <p:spPr>
            <a:xfrm>
              <a:off x="10808307" y="1390302"/>
              <a:ext cx="479760" cy="915177"/>
            </a:xfrm>
            <a:prstGeom prst="rect">
              <a:avLst/>
            </a:prstGeom>
          </p:spPr>
        </p:pic>
        <p:pic>
          <p:nvPicPr>
            <p:cNvPr id="56" name="Рисунок 55"/>
            <p:cNvPicPr>
              <a:picLocks noChangeAspect="1"/>
            </p:cNvPicPr>
            <p:nvPr/>
          </p:nvPicPr>
          <p:blipFill rotWithShape="1">
            <a:blip r:embed="rId9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9871927" y="1424258"/>
              <a:ext cx="436287" cy="914400"/>
            </a:xfrm>
            <a:prstGeom prst="rect">
              <a:avLst/>
            </a:prstGeom>
          </p:spPr>
        </p:pic>
        <p:pic>
          <p:nvPicPr>
            <p:cNvPr id="57" name="Рисунок 56"/>
            <p:cNvPicPr>
              <a:picLocks noChangeAspect="1"/>
            </p:cNvPicPr>
            <p:nvPr/>
          </p:nvPicPr>
          <p:blipFill rotWithShape="1">
            <a:blip r:embed="rId9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8545775" y="1404921"/>
              <a:ext cx="436287" cy="914400"/>
            </a:xfrm>
            <a:prstGeom prst="rect">
              <a:avLst/>
            </a:prstGeom>
          </p:spPr>
        </p:pic>
        <p:pic>
          <p:nvPicPr>
            <p:cNvPr id="58" name="Рисунок 57"/>
            <p:cNvPicPr>
              <a:picLocks noChangeAspect="1"/>
            </p:cNvPicPr>
            <p:nvPr/>
          </p:nvPicPr>
          <p:blipFill rotWithShape="1">
            <a:blip r:embed="rId9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8572376" y="2444503"/>
              <a:ext cx="436287" cy="914400"/>
            </a:xfrm>
            <a:prstGeom prst="rect">
              <a:avLst/>
            </a:prstGeom>
          </p:spPr>
        </p:pic>
        <p:pic>
          <p:nvPicPr>
            <p:cNvPr id="59" name="Рисунок 58"/>
            <p:cNvPicPr>
              <a:picLocks noChangeAspect="1"/>
            </p:cNvPicPr>
            <p:nvPr/>
          </p:nvPicPr>
          <p:blipFill rotWithShape="1">
            <a:blip r:embed="rId9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810"/>
            <a:stretch/>
          </p:blipFill>
          <p:spPr>
            <a:xfrm>
              <a:off x="9425923" y="2448875"/>
              <a:ext cx="436287" cy="914400"/>
            </a:xfrm>
            <a:prstGeom prst="rect">
              <a:avLst/>
            </a:prstGeom>
          </p:spPr>
        </p:pic>
        <p:pic>
          <p:nvPicPr>
            <p:cNvPr id="65" name="Рисунок 64"/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053"/>
            <a:stretch/>
          </p:blipFill>
          <p:spPr>
            <a:xfrm>
              <a:off x="12016856" y="2426831"/>
              <a:ext cx="479761" cy="915177"/>
            </a:xfrm>
            <a:prstGeom prst="rect">
              <a:avLst/>
            </a:prstGeom>
          </p:spPr>
        </p:pic>
        <p:pic>
          <p:nvPicPr>
            <p:cNvPr id="68" name="Рисунок 67"/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053"/>
            <a:stretch/>
          </p:blipFill>
          <p:spPr>
            <a:xfrm>
              <a:off x="11437012" y="2422503"/>
              <a:ext cx="479761" cy="915177"/>
            </a:xfrm>
            <a:prstGeom prst="rect">
              <a:avLst/>
            </a:prstGeom>
          </p:spPr>
        </p:pic>
        <p:pic>
          <p:nvPicPr>
            <p:cNvPr id="74" name="Рисунок 73"/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053"/>
            <a:stretch/>
          </p:blipFill>
          <p:spPr>
            <a:xfrm>
              <a:off x="11381572" y="1390301"/>
              <a:ext cx="479761" cy="915177"/>
            </a:xfrm>
            <a:prstGeom prst="rect">
              <a:avLst/>
            </a:prstGeom>
          </p:spPr>
        </p:pic>
        <p:pic>
          <p:nvPicPr>
            <p:cNvPr id="76" name="Рисунок 75"/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053"/>
            <a:stretch/>
          </p:blipFill>
          <p:spPr>
            <a:xfrm>
              <a:off x="11961414" y="1390300"/>
              <a:ext cx="479761" cy="915177"/>
            </a:xfrm>
            <a:prstGeom prst="rect">
              <a:avLst/>
            </a:prstGeom>
          </p:spPr>
        </p:pic>
      </p:grpSp>
      <p:sp>
        <p:nvSpPr>
          <p:cNvPr id="35" name="Скругленный прямоугольник 34"/>
          <p:cNvSpPr/>
          <p:nvPr/>
        </p:nvSpPr>
        <p:spPr>
          <a:xfrm>
            <a:off x="6986555" y="1590833"/>
            <a:ext cx="4809995" cy="2080374"/>
          </a:xfrm>
          <a:prstGeom prst="roundRect">
            <a:avLst/>
          </a:prstGeom>
          <a:noFill/>
          <a:ln w="38100">
            <a:solidFill>
              <a:schemeClr val="tx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98899" y="118207"/>
            <a:ext cx="664136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Количество выпускников МГУ и других вузов </a:t>
            </a:r>
            <a:endParaRPr kumimoji="0" lang="ru-RU" sz="3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7258615" y="4733762"/>
            <a:ext cx="244772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ологический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9376036" y="3920103"/>
            <a:ext cx="185140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итологии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10362902" y="4768174"/>
            <a:ext cx="71045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ГУ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4" name="Рисунок 83"/>
          <p:cNvPicPr>
            <a:picLocks noChangeAspect="1"/>
          </p:cNvPicPr>
          <p:nvPr/>
        </p:nvPicPr>
        <p:blipFill rotWithShape="1"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11061273" y="4675205"/>
            <a:ext cx="312917" cy="629885"/>
          </a:xfrm>
          <a:prstGeom prst="rect">
            <a:avLst/>
          </a:prstGeom>
        </p:spPr>
      </p:pic>
      <p:pic>
        <p:nvPicPr>
          <p:cNvPr id="96" name="Рисунок 95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395846" y="2454998"/>
            <a:ext cx="218329" cy="513594"/>
          </a:xfrm>
          <a:prstGeom prst="rect">
            <a:avLst/>
          </a:prstGeom>
        </p:spPr>
      </p:pic>
      <p:pic>
        <p:nvPicPr>
          <p:cNvPr id="97" name="Рисунок 96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349871" y="5734434"/>
            <a:ext cx="218329" cy="513594"/>
          </a:xfrm>
          <a:prstGeom prst="rect">
            <a:avLst/>
          </a:prstGeom>
        </p:spPr>
      </p:pic>
      <p:pic>
        <p:nvPicPr>
          <p:cNvPr id="98" name="Рисунок 97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98899" y="5148075"/>
            <a:ext cx="239880" cy="513594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 rotWithShape="1"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8604621" y="1819187"/>
            <a:ext cx="354276" cy="713139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 rotWithShape="1"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8975668" y="1819186"/>
            <a:ext cx="354276" cy="713139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 rotWithShape="1"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8624257" y="2606785"/>
            <a:ext cx="354276" cy="713139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9352060" y="2613310"/>
            <a:ext cx="354276" cy="713139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 rotWithShape="1"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7858782" y="2250215"/>
            <a:ext cx="354276" cy="713139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8219036" y="3804375"/>
            <a:ext cx="327349" cy="599737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 rotWithShape="1"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11180938" y="3804375"/>
            <a:ext cx="312917" cy="629885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 rotWithShape="1"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9679891" y="4620832"/>
            <a:ext cx="312917" cy="629885"/>
          </a:xfrm>
          <a:prstGeom prst="rect">
            <a:avLst/>
          </a:prstGeom>
        </p:spPr>
      </p:pic>
      <p:sp>
        <p:nvSpPr>
          <p:cNvPr id="71" name="Прямоугольник 70"/>
          <p:cNvSpPr/>
          <p:nvPr/>
        </p:nvSpPr>
        <p:spPr>
          <a:xfrm>
            <a:off x="8463548" y="5682821"/>
            <a:ext cx="198445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лософский</a:t>
            </a:r>
          </a:p>
        </p:txBody>
      </p:sp>
      <p:pic>
        <p:nvPicPr>
          <p:cNvPr id="72" name="Рисунок 71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10412075" y="5612464"/>
            <a:ext cx="327349" cy="599737"/>
          </a:xfrm>
          <a:prstGeom prst="rect">
            <a:avLst/>
          </a:prstGeom>
        </p:spPr>
      </p:pic>
      <p:pic>
        <p:nvPicPr>
          <p:cNvPr id="77" name="Рисунок 76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10748411" y="5612464"/>
            <a:ext cx="327349" cy="599737"/>
          </a:xfrm>
          <a:prstGeom prst="rect">
            <a:avLst/>
          </a:prstGeom>
        </p:spPr>
      </p:pic>
      <p:pic>
        <p:nvPicPr>
          <p:cNvPr id="78" name="Рисунок 77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378095" y="1786442"/>
            <a:ext cx="239880" cy="513594"/>
          </a:xfrm>
          <a:prstGeom prst="rect">
            <a:avLst/>
          </a:prstGeom>
        </p:spPr>
      </p:pic>
      <p:pic>
        <p:nvPicPr>
          <p:cNvPr id="79" name="Рисунок 78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2023741" y="3580463"/>
            <a:ext cx="239880" cy="513594"/>
          </a:xfrm>
          <a:prstGeom prst="rect">
            <a:avLst/>
          </a:prstGeom>
        </p:spPr>
      </p:pic>
      <p:pic>
        <p:nvPicPr>
          <p:cNvPr id="85" name="Рисунок 84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53"/>
          <a:stretch/>
        </p:blipFill>
        <p:spPr>
          <a:xfrm>
            <a:off x="131018" y="4118098"/>
            <a:ext cx="239880" cy="513594"/>
          </a:xfrm>
          <a:prstGeom prst="rect">
            <a:avLst/>
          </a:prstGeom>
        </p:spPr>
      </p:pic>
      <p:pic>
        <p:nvPicPr>
          <p:cNvPr id="86" name="Рисунок 85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10"/>
          <a:stretch/>
        </p:blipFill>
        <p:spPr>
          <a:xfrm>
            <a:off x="387570" y="4620832"/>
            <a:ext cx="218329" cy="513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491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lf0bsR8Eq4UR9WTwQ8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lf0bsR8Eq4UR9WTwQ8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lf0bsR8Eq4UR9WTwQ8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lf0bsR8Eq4UR9WTwQ8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lf0bsR8Eq4UR9WTwQ8HA"/>
</p:tagLst>
</file>

<file path=ppt/theme/theme1.xml><?xml version="1.0" encoding="utf-8"?>
<a:theme xmlns:a="http://schemas.openxmlformats.org/drawingml/2006/main" name="Тема Office">
  <a:themeElements>
    <a:clrScheme name="Другая 27">
      <a:dk1>
        <a:sysClr val="windowText" lastClr="000000"/>
      </a:dk1>
      <a:lt1>
        <a:sysClr val="window" lastClr="FFFFFF"/>
      </a:lt1>
      <a:dk2>
        <a:srgbClr val="B13F9A"/>
      </a:dk2>
      <a:lt2>
        <a:srgbClr val="F4E7ED"/>
      </a:lt2>
      <a:accent1>
        <a:srgbClr val="7F7F7F"/>
      </a:accent1>
      <a:accent2>
        <a:srgbClr val="B83D68"/>
      </a:accent2>
      <a:accent3>
        <a:srgbClr val="DE6C36"/>
      </a:accent3>
      <a:accent4>
        <a:srgbClr val="F9B639"/>
      </a:accent4>
      <a:accent5>
        <a:srgbClr val="CF6DA4"/>
      </a:accent5>
      <a:accent6>
        <a:srgbClr val="FA8D3D"/>
      </a:accent6>
      <a:hlink>
        <a:srgbClr val="FFDE66"/>
      </a:hlink>
      <a:folHlink>
        <a:srgbClr val="D490C5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Другая 5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9CB084"/>
      </a:accent1>
      <a:accent2>
        <a:srgbClr val="7E6BC9"/>
      </a:accent2>
      <a:accent3>
        <a:srgbClr val="6BB1C9"/>
      </a:accent3>
      <a:accent4>
        <a:srgbClr val="6585CF"/>
      </a:accent4>
      <a:accent5>
        <a:srgbClr val="CEB966"/>
      </a:accent5>
      <a:accent6>
        <a:srgbClr val="A379BB"/>
      </a:accent6>
      <a:hlink>
        <a:srgbClr val="410082"/>
      </a:hlink>
      <a:folHlink>
        <a:srgbClr val="932968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15</TotalTime>
  <Words>147</Words>
  <Application>Microsoft Office PowerPoint</Application>
  <PresentationFormat>Широкоэкранный</PresentationFormat>
  <Paragraphs>86</Paragraphs>
  <Slides>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3" baseType="lpstr">
      <vt:lpstr>Arial</vt:lpstr>
      <vt:lpstr>Arial Black</vt:lpstr>
      <vt:lpstr>Calibri</vt:lpstr>
      <vt:lpstr>Calibri Light</vt:lpstr>
      <vt:lpstr>Тема Office</vt:lpstr>
      <vt:lpstr>1_Тема Office</vt:lpstr>
      <vt:lpstr>think-cell Slide</vt:lpstr>
      <vt:lpstr>ИННОВАЦИОННЫЙ МЕНЕДЖМЕН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tudnikov Serge Sergeevich</dc:creator>
  <cp:lastModifiedBy>Михаил</cp:lastModifiedBy>
  <cp:revision>103</cp:revision>
  <cp:lastPrinted>2015-09-02T06:59:52Z</cp:lastPrinted>
  <dcterms:created xsi:type="dcterms:W3CDTF">2015-07-31T14:24:29Z</dcterms:created>
  <dcterms:modified xsi:type="dcterms:W3CDTF">2019-09-22T11:59:32Z</dcterms:modified>
</cp:coreProperties>
</file>